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.xml" ContentType="application/vnd.openxmlformats-officedocument.presentationml.tags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997" r:id="rId6"/>
    <p:sldMasterId id="2147484575" r:id="rId7"/>
  </p:sldMasterIdLst>
  <p:notesMasterIdLst>
    <p:notesMasterId r:id="rId28"/>
  </p:notesMasterIdLst>
  <p:handoutMasterIdLst>
    <p:handoutMasterId r:id="rId29"/>
  </p:handoutMasterIdLst>
  <p:sldIdLst>
    <p:sldId id="2145705434" r:id="rId8"/>
    <p:sldId id="2145705350" r:id="rId9"/>
    <p:sldId id="2145705475" r:id="rId10"/>
    <p:sldId id="2134805835" r:id="rId11"/>
    <p:sldId id="2142532479" r:id="rId12"/>
    <p:sldId id="2145705569" r:id="rId13"/>
    <p:sldId id="2145705473" r:id="rId14"/>
    <p:sldId id="2145705526" r:id="rId15"/>
    <p:sldId id="2145705504" r:id="rId16"/>
    <p:sldId id="2145705432" r:id="rId17"/>
    <p:sldId id="2142532475" r:id="rId18"/>
    <p:sldId id="2145705356" r:id="rId19"/>
    <p:sldId id="2145705591" r:id="rId20"/>
    <p:sldId id="2145705240" r:id="rId21"/>
    <p:sldId id="2145705253" r:id="rId22"/>
    <p:sldId id="2145705610" r:id="rId23"/>
    <p:sldId id="2145705611" r:id="rId24"/>
    <p:sldId id="2145705238" r:id="rId25"/>
    <p:sldId id="2145705472" r:id="rId26"/>
    <p:sldId id="2145705570" r:id="rId27"/>
  </p:sldIdLst>
  <p:sldSz cx="9144000" cy="5143500" type="screen16x9"/>
  <p:notesSz cx="6808788" cy="9940925"/>
  <p:embeddedFontLst>
    <p:embeddedFont>
      <p:font typeface="Calibri" panose="020F0502020204030204" pitchFamily="34" charset="0"/>
      <p:regular r:id="rId30"/>
      <p:bold r:id="rId31"/>
      <p:italic r:id="rId32"/>
      <p:boldItalic r:id="rId33"/>
    </p:embeddedFont>
    <p:embeddedFont>
      <p:font typeface="RR Pioneer" panose="020B0503050201040103" pitchFamily="34" charset="0"/>
      <p:regular r:id="rId34"/>
      <p:bold r:id="rId35"/>
      <p:italic r:id="rId36"/>
      <p:boldItalic r:id="rId37"/>
    </p:embeddedFont>
    <p:embeddedFont>
      <p:font typeface="RR Pioneer Bold" panose="020B0803050201040103" pitchFamily="34" charset="0"/>
      <p:bold r:id="rId38"/>
    </p:embeddedFont>
    <p:embeddedFont>
      <p:font typeface="RR Pioneer Bold" panose="020B0803050201040103" pitchFamily="34" charset="0"/>
      <p:bold r:id="rId38"/>
    </p:embeddedFont>
    <p:embeddedFont>
      <p:font typeface="RR Pioneer Light Condensed" panose="020B0306050201060103" pitchFamily="34" charset="0"/>
      <p:regular r:id="rId39"/>
    </p:embeddedFont>
  </p:embeddedFont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449" userDrawn="1">
          <p15:clr>
            <a:srgbClr val="A4A3A4"/>
          </p15:clr>
        </p15:guide>
        <p15:guide id="2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CE54E05-6DB6-8AE6-24F5-ECD96F3F4EC1}" name="Crawforth, Michael" initials="CM" userId="S::Michael.Crawforth@rolls-royce-smr.com::29541ea2-158c-4c82-a480-cbd583bbde42" providerId="AD"/>
  <p188:author id="{AD11B5A1-E5D6-4EDA-A526-64591350591E}" name="Keeling, Harry" initials="KH" userId="S::harry.keeling@rolls-royce-smr.com::3cd08ab3-a865-4e8f-b6b1-0684cdf74c0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azıcıoğlu, Ecem" initials="YE" lastIdx="1" clrIdx="0">
    <p:extLst>
      <p:ext uri="{19B8F6BF-5375-455C-9EA6-DF929625EA0E}">
        <p15:presenceInfo xmlns:p15="http://schemas.microsoft.com/office/powerpoint/2012/main" userId="S::Ecem.Yazicioglu@Aerospace.Rolls-Royce.com::eb64ff0c-3a16-4899-a576-7dc719cb20d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069F"/>
    <a:srgbClr val="006DFF"/>
    <a:srgbClr val="4F98FF"/>
    <a:srgbClr val="EFEFF4"/>
    <a:srgbClr val="EFE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143480-EB58-4B08-8B18-D263C3E43095}" v="14" dt="2023-01-09T15:04:49.539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4787" autoAdjust="0"/>
  </p:normalViewPr>
  <p:slideViewPr>
    <p:cSldViewPr snapToGrid="0">
      <p:cViewPr varScale="1">
        <p:scale>
          <a:sx n="99" d="100"/>
          <a:sy n="99" d="100"/>
        </p:scale>
        <p:origin x="922" y="58"/>
      </p:cViewPr>
      <p:guideLst>
        <p:guide pos="2449"/>
        <p:guide orient="horz" pos="16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3413" y="211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font" Target="fonts/font10.fntdata"/><Relationship Id="rId21" Type="http://schemas.openxmlformats.org/officeDocument/2006/relationships/slide" Target="slides/slide14.xml"/><Relationship Id="rId34" Type="http://schemas.openxmlformats.org/officeDocument/2006/relationships/font" Target="fonts/font5.fntdata"/><Relationship Id="rId42" Type="http://schemas.openxmlformats.org/officeDocument/2006/relationships/viewProps" Target="viewProps.xml"/><Relationship Id="rId47" Type="http://schemas.microsoft.com/office/2018/10/relationships/authors" Target="authors.xml"/><Relationship Id="rId7" Type="http://schemas.openxmlformats.org/officeDocument/2006/relationships/slideMaster" Target="slideMasters/slideMaster2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commentAuthors" Target="commentAuthors.xml"/><Relationship Id="rId45" Type="http://schemas.microsoft.com/office/2016/11/relationships/changesInfo" Target="changesInfos/changesInfo1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7.fntdata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font" Target="fonts/font2.fntdata"/><Relationship Id="rId44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theme" Target="theme/theme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microsoft.com/office/2015/10/relationships/revisionInfo" Target="revisionInfo.xml"/><Relationship Id="rId20" Type="http://schemas.openxmlformats.org/officeDocument/2006/relationships/slide" Target="slides/slide13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xon, Ed" userId="0bb7f700-bd7d-4210-b1fc-b09d5fb4cf91" providerId="ADAL" clId="{45143480-EB58-4B08-8B18-D263C3E43095}"/>
    <pc:docChg chg="custSel addSld delSld modSld sldOrd">
      <pc:chgData name="Coxon, Ed" userId="0bb7f700-bd7d-4210-b1fc-b09d5fb4cf91" providerId="ADAL" clId="{45143480-EB58-4B08-8B18-D263C3E43095}" dt="2023-01-09T15:01:23.773" v="287" actId="196"/>
      <pc:docMkLst>
        <pc:docMk/>
      </pc:docMkLst>
      <pc:sldChg chg="ord">
        <pc:chgData name="Coxon, Ed" userId="0bb7f700-bd7d-4210-b1fc-b09d5fb4cf91" providerId="ADAL" clId="{45143480-EB58-4B08-8B18-D263C3E43095}" dt="2023-01-09T11:34:22.533" v="152"/>
        <pc:sldMkLst>
          <pc:docMk/>
          <pc:sldMk cId="3565089402" sldId="2142532475"/>
        </pc:sldMkLst>
      </pc:sldChg>
      <pc:sldChg chg="add">
        <pc:chgData name="Coxon, Ed" userId="0bb7f700-bd7d-4210-b1fc-b09d5fb4cf91" providerId="ADAL" clId="{45143480-EB58-4B08-8B18-D263C3E43095}" dt="2023-01-09T11:38:17.480" v="165"/>
        <pc:sldMkLst>
          <pc:docMk/>
          <pc:sldMk cId="3858081232" sldId="2142532479"/>
        </pc:sldMkLst>
      </pc:sldChg>
      <pc:sldChg chg="ord">
        <pc:chgData name="Coxon, Ed" userId="0bb7f700-bd7d-4210-b1fc-b09d5fb4cf91" providerId="ADAL" clId="{45143480-EB58-4B08-8B18-D263C3E43095}" dt="2023-01-09T11:44:02.425" v="253"/>
        <pc:sldMkLst>
          <pc:docMk/>
          <pc:sldMk cId="1877297419" sldId="2145705240"/>
        </pc:sldMkLst>
      </pc:sldChg>
      <pc:sldChg chg="delSp modSp add mod">
        <pc:chgData name="Coxon, Ed" userId="0bb7f700-bd7d-4210-b1fc-b09d5fb4cf91" providerId="ADAL" clId="{45143480-EB58-4B08-8B18-D263C3E43095}" dt="2023-01-09T11:42:51.510" v="247" actId="1038"/>
        <pc:sldMkLst>
          <pc:docMk/>
          <pc:sldMk cId="3559024501" sldId="2145705253"/>
        </pc:sldMkLst>
        <pc:spChg chg="mod">
          <ac:chgData name="Coxon, Ed" userId="0bb7f700-bd7d-4210-b1fc-b09d5fb4cf91" providerId="ADAL" clId="{45143480-EB58-4B08-8B18-D263C3E43095}" dt="2023-01-09T11:42:51.510" v="247" actId="1038"/>
          <ac:spMkLst>
            <pc:docMk/>
            <pc:sldMk cId="3559024501" sldId="2145705253"/>
            <ac:spMk id="120" creationId="{A4205AD2-EF8B-46CB-B170-B321365C0D36}"/>
          </ac:spMkLst>
        </pc:spChg>
        <pc:grpChg chg="mod">
          <ac:chgData name="Coxon, Ed" userId="0bb7f700-bd7d-4210-b1fc-b09d5fb4cf91" providerId="ADAL" clId="{45143480-EB58-4B08-8B18-D263C3E43095}" dt="2023-01-09T11:41:50.142" v="209" actId="1037"/>
          <ac:grpSpMkLst>
            <pc:docMk/>
            <pc:sldMk cId="3559024501" sldId="2145705253"/>
            <ac:grpSpMk id="3" creationId="{F5638502-92E0-1FAB-F332-580D0546F702}"/>
          </ac:grpSpMkLst>
        </pc:grpChg>
        <pc:cxnChg chg="del">
          <ac:chgData name="Coxon, Ed" userId="0bb7f700-bd7d-4210-b1fc-b09d5fb4cf91" providerId="ADAL" clId="{45143480-EB58-4B08-8B18-D263C3E43095}" dt="2023-01-09T11:42:06.163" v="210" actId="478"/>
          <ac:cxnSpMkLst>
            <pc:docMk/>
            <pc:sldMk cId="3559024501" sldId="2145705253"/>
            <ac:cxnSpMk id="51" creationId="{4B22F3D4-F101-47D8-9B62-2CA4ACB3BAD4}"/>
          </ac:cxnSpMkLst>
        </pc:cxnChg>
      </pc:sldChg>
      <pc:sldChg chg="add">
        <pc:chgData name="Coxon, Ed" userId="0bb7f700-bd7d-4210-b1fc-b09d5fb4cf91" providerId="ADAL" clId="{45143480-EB58-4B08-8B18-D263C3E43095}" dt="2023-01-09T11:32:33.035" v="144"/>
        <pc:sldMkLst>
          <pc:docMk/>
          <pc:sldMk cId="557581231" sldId="2145705350"/>
        </pc:sldMkLst>
      </pc:sldChg>
      <pc:sldChg chg="del ord">
        <pc:chgData name="Coxon, Ed" userId="0bb7f700-bd7d-4210-b1fc-b09d5fb4cf91" providerId="ADAL" clId="{45143480-EB58-4B08-8B18-D263C3E43095}" dt="2023-01-09T14:00:09.793" v="254" actId="47"/>
        <pc:sldMkLst>
          <pc:docMk/>
          <pc:sldMk cId="541880454" sldId="2145705417"/>
        </pc:sldMkLst>
      </pc:sldChg>
      <pc:sldChg chg="add ord">
        <pc:chgData name="Coxon, Ed" userId="0bb7f700-bd7d-4210-b1fc-b09d5fb4cf91" providerId="ADAL" clId="{45143480-EB58-4B08-8B18-D263C3E43095}" dt="2023-01-09T11:33:41.218" v="148"/>
        <pc:sldMkLst>
          <pc:docMk/>
          <pc:sldMk cId="3646449763" sldId="2145705432"/>
        </pc:sldMkLst>
      </pc:sldChg>
      <pc:sldChg chg="del ord">
        <pc:chgData name="Coxon, Ed" userId="0bb7f700-bd7d-4210-b1fc-b09d5fb4cf91" providerId="ADAL" clId="{45143480-EB58-4B08-8B18-D263C3E43095}" dt="2023-01-09T14:00:09.793" v="254" actId="47"/>
        <pc:sldMkLst>
          <pc:docMk/>
          <pc:sldMk cId="680457174" sldId="2145705433"/>
        </pc:sldMkLst>
      </pc:sldChg>
      <pc:sldChg chg="modSp mod">
        <pc:chgData name="Coxon, Ed" userId="0bb7f700-bd7d-4210-b1fc-b09d5fb4cf91" providerId="ADAL" clId="{45143480-EB58-4B08-8B18-D263C3E43095}" dt="2023-01-09T09:46:48.731" v="138" actId="113"/>
        <pc:sldMkLst>
          <pc:docMk/>
          <pc:sldMk cId="4010994692" sldId="2145705434"/>
        </pc:sldMkLst>
        <pc:spChg chg="mod">
          <ac:chgData name="Coxon, Ed" userId="0bb7f700-bd7d-4210-b1fc-b09d5fb4cf91" providerId="ADAL" clId="{45143480-EB58-4B08-8B18-D263C3E43095}" dt="2023-01-09T09:46:48.731" v="138" actId="113"/>
          <ac:spMkLst>
            <pc:docMk/>
            <pc:sldMk cId="4010994692" sldId="2145705434"/>
            <ac:spMk id="4" creationId="{356072F0-8159-7773-9DB4-EF02BDA53184}"/>
          </ac:spMkLst>
        </pc:spChg>
      </pc:sldChg>
      <pc:sldChg chg="add del ord">
        <pc:chgData name="Coxon, Ed" userId="0bb7f700-bd7d-4210-b1fc-b09d5fb4cf91" providerId="ADAL" clId="{45143480-EB58-4B08-8B18-D263C3E43095}" dt="2023-01-09T14:00:09.793" v="254" actId="47"/>
        <pc:sldMkLst>
          <pc:docMk/>
          <pc:sldMk cId="489243358" sldId="2145705440"/>
        </pc:sldMkLst>
      </pc:sldChg>
      <pc:sldChg chg="add ord">
        <pc:chgData name="Coxon, Ed" userId="0bb7f700-bd7d-4210-b1fc-b09d5fb4cf91" providerId="ADAL" clId="{45143480-EB58-4B08-8B18-D263C3E43095}" dt="2023-01-09T11:37:21.092" v="164"/>
        <pc:sldMkLst>
          <pc:docMk/>
          <pc:sldMk cId="2730035322" sldId="2145705472"/>
        </pc:sldMkLst>
      </pc:sldChg>
      <pc:sldChg chg="add ord">
        <pc:chgData name="Coxon, Ed" userId="0bb7f700-bd7d-4210-b1fc-b09d5fb4cf91" providerId="ADAL" clId="{45143480-EB58-4B08-8B18-D263C3E43095}" dt="2023-01-09T11:34:08.956" v="150"/>
        <pc:sldMkLst>
          <pc:docMk/>
          <pc:sldMk cId="3775380570" sldId="2145705473"/>
        </pc:sldMkLst>
      </pc:sldChg>
      <pc:sldChg chg="add">
        <pc:chgData name="Coxon, Ed" userId="0bb7f700-bd7d-4210-b1fc-b09d5fb4cf91" providerId="ADAL" clId="{45143480-EB58-4B08-8B18-D263C3E43095}" dt="2023-01-09T11:32:33.035" v="144"/>
        <pc:sldMkLst>
          <pc:docMk/>
          <pc:sldMk cId="2722923462" sldId="2145705475"/>
        </pc:sldMkLst>
      </pc:sldChg>
      <pc:sldChg chg="add ord">
        <pc:chgData name="Coxon, Ed" userId="0bb7f700-bd7d-4210-b1fc-b09d5fb4cf91" providerId="ADAL" clId="{45143480-EB58-4B08-8B18-D263C3E43095}" dt="2023-01-09T11:36:08.916" v="162"/>
        <pc:sldMkLst>
          <pc:docMk/>
          <pc:sldMk cId="58775177" sldId="2145705526"/>
        </pc:sldMkLst>
      </pc:sldChg>
      <pc:sldChg chg="add ord">
        <pc:chgData name="Coxon, Ed" userId="0bb7f700-bd7d-4210-b1fc-b09d5fb4cf91" providerId="ADAL" clId="{45143480-EB58-4B08-8B18-D263C3E43095}" dt="2023-01-09T11:34:45.682" v="154"/>
        <pc:sldMkLst>
          <pc:docMk/>
          <pc:sldMk cId="1391961726" sldId="2145705591"/>
        </pc:sldMkLst>
      </pc:sldChg>
      <pc:sldChg chg="addSp delSp modSp mod ord">
        <pc:chgData name="Coxon, Ed" userId="0bb7f700-bd7d-4210-b1fc-b09d5fb4cf91" providerId="ADAL" clId="{45143480-EB58-4B08-8B18-D263C3E43095}" dt="2023-01-09T15:01:23.773" v="287" actId="196"/>
        <pc:sldMkLst>
          <pc:docMk/>
          <pc:sldMk cId="1836917086" sldId="2145705610"/>
        </pc:sldMkLst>
        <pc:spChg chg="add del mod">
          <ac:chgData name="Coxon, Ed" userId="0bb7f700-bd7d-4210-b1fc-b09d5fb4cf91" providerId="ADAL" clId="{45143480-EB58-4B08-8B18-D263C3E43095}" dt="2023-01-09T14:58:58.579" v="269" actId="478"/>
          <ac:spMkLst>
            <pc:docMk/>
            <pc:sldMk cId="1836917086" sldId="2145705610"/>
            <ac:spMk id="8" creationId="{8A5AAD61-44D0-24EB-54CF-58B6C15BB85D}"/>
          </ac:spMkLst>
        </pc:spChg>
        <pc:grpChg chg="mod">
          <ac:chgData name="Coxon, Ed" userId="0bb7f700-bd7d-4210-b1fc-b09d5fb4cf91" providerId="ADAL" clId="{45143480-EB58-4B08-8B18-D263C3E43095}" dt="2023-01-09T14:57:20.166" v="263" actId="14100"/>
          <ac:grpSpMkLst>
            <pc:docMk/>
            <pc:sldMk cId="1836917086" sldId="2145705610"/>
            <ac:grpSpMk id="4" creationId="{6EA5EF4E-142F-0B44-FB42-05CE1094B6E0}"/>
          </ac:grpSpMkLst>
        </pc:grpChg>
        <pc:grpChg chg="mod">
          <ac:chgData name="Coxon, Ed" userId="0bb7f700-bd7d-4210-b1fc-b09d5fb4cf91" providerId="ADAL" clId="{45143480-EB58-4B08-8B18-D263C3E43095}" dt="2023-01-09T14:57:24.141" v="264" actId="14100"/>
          <ac:grpSpMkLst>
            <pc:docMk/>
            <pc:sldMk cId="1836917086" sldId="2145705610"/>
            <ac:grpSpMk id="29" creationId="{CF663AD4-A882-6A95-41DD-39D159483C37}"/>
          </ac:grpSpMkLst>
        </pc:grpChg>
        <pc:picChg chg="add mod">
          <ac:chgData name="Coxon, Ed" userId="0bb7f700-bd7d-4210-b1fc-b09d5fb4cf91" providerId="ADAL" clId="{45143480-EB58-4B08-8B18-D263C3E43095}" dt="2023-01-09T14:57:08.203" v="261" actId="14100"/>
          <ac:picMkLst>
            <pc:docMk/>
            <pc:sldMk cId="1836917086" sldId="2145705610"/>
            <ac:picMk id="7" creationId="{CC277B45-B608-2BC1-0661-53E7D7BAB33B}"/>
          </ac:picMkLst>
        </pc:picChg>
        <pc:picChg chg="add mod modCrop">
          <ac:chgData name="Coxon, Ed" userId="0bb7f700-bd7d-4210-b1fc-b09d5fb4cf91" providerId="ADAL" clId="{45143480-EB58-4B08-8B18-D263C3E43095}" dt="2023-01-09T15:01:23.773" v="287" actId="196"/>
          <ac:picMkLst>
            <pc:docMk/>
            <pc:sldMk cId="1836917086" sldId="2145705610"/>
            <ac:picMk id="10" creationId="{08F0C1B3-DA37-77C2-30F2-E112C61B7BA8}"/>
          </ac:picMkLst>
        </pc:picChg>
        <pc:picChg chg="del">
          <ac:chgData name="Coxon, Ed" userId="0bb7f700-bd7d-4210-b1fc-b09d5fb4cf91" providerId="ADAL" clId="{45143480-EB58-4B08-8B18-D263C3E43095}" dt="2023-01-09T14:56:59.212" v="255" actId="478"/>
          <ac:picMkLst>
            <pc:docMk/>
            <pc:sldMk cId="1836917086" sldId="2145705610"/>
            <ac:picMk id="19" creationId="{C71E127D-610C-B130-05AC-B5323FD94EF1}"/>
          </ac:picMkLst>
        </pc:picChg>
        <pc:picChg chg="del">
          <ac:chgData name="Coxon, Ed" userId="0bb7f700-bd7d-4210-b1fc-b09d5fb4cf91" providerId="ADAL" clId="{45143480-EB58-4B08-8B18-D263C3E43095}" dt="2023-01-09T14:58:44.244" v="265" actId="478"/>
          <ac:picMkLst>
            <pc:docMk/>
            <pc:sldMk cId="1836917086" sldId="2145705610"/>
            <ac:picMk id="21" creationId="{7097991F-D479-AACB-47DF-AA95725DD593}"/>
          </ac:picMkLst>
        </pc:picChg>
        <pc:picChg chg="mod ord">
          <ac:chgData name="Coxon, Ed" userId="0bb7f700-bd7d-4210-b1fc-b09d5fb4cf91" providerId="ADAL" clId="{45143480-EB58-4B08-8B18-D263C3E43095}" dt="2023-01-09T15:01:15.266" v="286" actId="14100"/>
          <ac:picMkLst>
            <pc:docMk/>
            <pc:sldMk cId="1836917086" sldId="2145705610"/>
            <ac:picMk id="31" creationId="{F89282CA-2331-99F9-84CE-2FDCD7BC5B14}"/>
          </ac:picMkLst>
        </pc:picChg>
        <pc:picChg chg="mod">
          <ac:chgData name="Coxon, Ed" userId="0bb7f700-bd7d-4210-b1fc-b09d5fb4cf91" providerId="ADAL" clId="{45143480-EB58-4B08-8B18-D263C3E43095}" dt="2023-01-09T14:57:15.929" v="262" actId="14100"/>
          <ac:picMkLst>
            <pc:docMk/>
            <pc:sldMk cId="1836917086" sldId="2145705610"/>
            <ac:picMk id="32" creationId="{E4942175-84FD-5364-B961-71C23B4BB8A6}"/>
          </ac:picMkLst>
        </pc:picChg>
      </pc:sldChg>
      <pc:sldChg chg="add ord">
        <pc:chgData name="Coxon, Ed" userId="0bb7f700-bd7d-4210-b1fc-b09d5fb4cf91" providerId="ADAL" clId="{45143480-EB58-4B08-8B18-D263C3E43095}" dt="2023-01-09T11:35:43.796" v="160"/>
        <pc:sldMkLst>
          <pc:docMk/>
          <pc:sldMk cId="923822384" sldId="2145705611"/>
        </pc:sldMkLst>
      </pc:sldChg>
      <pc:sldMasterChg chg="delSldLayout">
        <pc:chgData name="Coxon, Ed" userId="0bb7f700-bd7d-4210-b1fc-b09d5fb4cf91" providerId="ADAL" clId="{45143480-EB58-4B08-8B18-D263C3E43095}" dt="2023-01-09T14:00:09.793" v="254" actId="47"/>
        <pc:sldMasterMkLst>
          <pc:docMk/>
          <pc:sldMasterMk cId="1710593650" sldId="2147483997"/>
        </pc:sldMasterMkLst>
        <pc:sldLayoutChg chg="del">
          <pc:chgData name="Coxon, Ed" userId="0bb7f700-bd7d-4210-b1fc-b09d5fb4cf91" providerId="ADAL" clId="{45143480-EB58-4B08-8B18-D263C3E43095}" dt="2023-01-09T14:00:09.793" v="254" actId="47"/>
          <pc:sldLayoutMkLst>
            <pc:docMk/>
            <pc:sldMasterMk cId="1710593650" sldId="2147483997"/>
            <pc:sldLayoutMk cId="1586800737" sldId="2147484586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7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68837295659586"/>
          <c:y val="0.18978539161125707"/>
          <c:w val="0.84777645559578363"/>
          <c:h val="0.81021460224814468"/>
        </c:manualLayout>
      </c:layout>
      <c:doughnutChart>
        <c:varyColors val="1"/>
        <c:ser>
          <c:idx val="0"/>
          <c:order val="0"/>
          <c:spPr>
            <a:ln w="25400">
              <a:noFill/>
            </a:ln>
          </c:spPr>
          <c:dPt>
            <c:idx val="0"/>
            <c:bubble3D val="0"/>
            <c:spPr>
              <a:solidFill>
                <a:srgbClr val="000000">
                  <a:lumMod val="75000"/>
                  <a:lumOff val="25000"/>
                </a:srgbClr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FEA-4095-88FF-B230B43DCECF}"/>
              </c:ext>
            </c:extLst>
          </c:dPt>
          <c:dPt>
            <c:idx val="1"/>
            <c:bubble3D val="0"/>
            <c:spPr>
              <a:solidFill>
                <a:srgbClr val="000000">
                  <a:lumMod val="50000"/>
                  <a:lumOff val="50000"/>
                </a:srgbClr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FEA-4095-88FF-B230B43DCECF}"/>
              </c:ext>
            </c:extLst>
          </c:dPt>
          <c:dPt>
            <c:idx val="2"/>
            <c:bubble3D val="0"/>
            <c:spPr>
              <a:solidFill>
                <a:schemeClr val="tx1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FEA-4095-88FF-B230B43DCECF}"/>
              </c:ext>
            </c:extLst>
          </c:dPt>
          <c:dPt>
            <c:idx val="3"/>
            <c:bubble3D val="0"/>
            <c:spPr>
              <a:solidFill>
                <a:srgbClr val="3F88C5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FEA-4095-88FF-B230B43DCECF}"/>
              </c:ext>
            </c:extLst>
          </c:dPt>
          <c:dPt>
            <c:idx val="4"/>
            <c:bubble3D val="0"/>
            <c:spPr>
              <a:solidFill>
                <a:srgbClr val="10069F"/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FEA-4095-88FF-B230B43DCECF}"/>
              </c:ext>
            </c:extLst>
          </c:dPt>
          <c:dPt>
            <c:idx val="5"/>
            <c:bubble3D val="0"/>
            <c:spPr>
              <a:solidFill>
                <a:schemeClr val="accent2">
                  <a:lumMod val="75000"/>
                  <a:lumOff val="25000"/>
                </a:schemeClr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FEA-4095-88FF-B230B43DCECF}"/>
              </c:ext>
            </c:extLst>
          </c:dPt>
          <c:dPt>
            <c:idx val="6"/>
            <c:bubble3D val="0"/>
            <c:spPr>
              <a:solidFill>
                <a:srgbClr val="3F88C5">
                  <a:lumMod val="75000"/>
                </a:srgbClr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AFEA-4095-88FF-B230B43DCECF}"/>
              </c:ext>
            </c:extLst>
          </c:dPt>
          <c:dPt>
            <c:idx val="7"/>
            <c:bubble3D val="0"/>
            <c:spPr>
              <a:solidFill>
                <a:srgbClr val="004777">
                  <a:lumMod val="20000"/>
                  <a:lumOff val="80000"/>
                </a:srgbClr>
              </a:solidFill>
              <a:ln w="254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AFEA-4095-88FF-B230B43DCECF}"/>
              </c:ext>
            </c:extLst>
          </c:dPt>
          <c:dLbls>
            <c:dLbl>
              <c:idx val="0"/>
              <c:layout>
                <c:manualLayout>
                  <c:x val="-1.6025641025641101E-2"/>
                  <c:y val="4.629629629629629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FEA-4095-88FF-B230B43DCECF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AFEA-4095-88FF-B230B43DCEC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AFEA-4095-88FF-B230B43DCECF}"/>
                </c:ext>
              </c:extLst>
            </c:dLbl>
            <c:dLbl>
              <c:idx val="3"/>
              <c:layout>
                <c:manualLayout>
                  <c:x val="-0.16415322682735398"/>
                  <c:y val="-0.1089059486092017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FEA-4095-88FF-B230B43DCECF}"/>
                </c:ext>
              </c:extLst>
            </c:dLbl>
            <c:dLbl>
              <c:idx val="4"/>
              <c:layout>
                <c:manualLayout>
                  <c:x val="-0.2136673145140465"/>
                  <c:y val="-0.18941186130268406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FEA-4095-88FF-B230B43DCECF}"/>
                </c:ext>
              </c:extLst>
            </c:dLbl>
            <c:dLbl>
              <c:idx val="5"/>
              <c:layout>
                <c:manualLayout>
                  <c:x val="-3.6835202673620823E-2"/>
                  <c:y val="-0.203540445517564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8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800"/>
                      <a:t>Hydro,</a:t>
                    </a:r>
                    <a:r>
                      <a:rPr lang="en-US" sz="800" baseline="0"/>
                      <a:t> </a:t>
                    </a:r>
                  </a:p>
                  <a:p>
                    <a:pPr>
                      <a:defRPr sz="800" b="1">
                        <a:solidFill>
                          <a:schemeClr val="tx1"/>
                        </a:solidFill>
                      </a:defRPr>
                    </a:pPr>
                    <a:r>
                      <a:rPr lang="en-US" sz="800" baseline="0"/>
                      <a:t>Geothermal</a:t>
                    </a:r>
                    <a:endParaRPr lang="en-US" sz="80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45337620578778"/>
                      <c:h val="0.14209714948338087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B-AFEA-4095-88FF-B230B43DCECF}"/>
                </c:ext>
              </c:extLst>
            </c:dLbl>
            <c:dLbl>
              <c:idx val="6"/>
              <c:layout>
                <c:manualLayout>
                  <c:x val="0.31644852784611122"/>
                  <c:y val="-0.15176355261631191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FEA-4095-88FF-B230B43DCECF}"/>
                </c:ext>
              </c:extLst>
            </c:dLbl>
            <c:dLbl>
              <c:idx val="7"/>
              <c:layout>
                <c:manualLayout>
                  <c:x val="0.1438402399300506"/>
                  <c:y val="-0.19092834038826337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FEA-4095-88FF-B230B43DCEC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[Chart in Microsoft PowerPoint]Graph data'!$A$3:$A$10</c:f>
              <c:strCache>
                <c:ptCount val="8"/>
                <c:pt idx="0">
                  <c:v>Gas</c:v>
                </c:pt>
                <c:pt idx="1">
                  <c:v>Coal</c:v>
                </c:pt>
                <c:pt idx="2">
                  <c:v>Oil</c:v>
                </c:pt>
                <c:pt idx="3">
                  <c:v>Biofuels &amp; Waste</c:v>
                </c:pt>
                <c:pt idx="4">
                  <c:v>Nuclear</c:v>
                </c:pt>
                <c:pt idx="5">
                  <c:v>Hydro, geothermal, etc</c:v>
                </c:pt>
                <c:pt idx="6">
                  <c:v>Solar</c:v>
                </c:pt>
                <c:pt idx="7">
                  <c:v>Wind &amp; Tidal</c:v>
                </c:pt>
              </c:strCache>
            </c:strRef>
          </c:cat>
          <c:val>
            <c:numRef>
              <c:f>'[Chart in Microsoft PowerPoint]Graph data'!$B$3:$B$10</c:f>
              <c:numCache>
                <c:formatCode>_-* #,##0_-;\-* #,##0_-;_-* "-"??_-;_-@_-</c:formatCode>
                <c:ptCount val="8"/>
                <c:pt idx="0">
                  <c:v>39257.760000000002</c:v>
                </c:pt>
                <c:pt idx="1">
                  <c:v>44746.38</c:v>
                </c:pt>
                <c:pt idx="2">
                  <c:v>55303.38</c:v>
                </c:pt>
                <c:pt idx="3">
                  <c:v>11333.22</c:v>
                </c:pt>
                <c:pt idx="4">
                  <c:v>2755.02</c:v>
                </c:pt>
                <c:pt idx="5">
                  <c:v>4276.8599999999997</c:v>
                </c:pt>
                <c:pt idx="6">
                  <c:v>596.70000000000005</c:v>
                </c:pt>
                <c:pt idx="7">
                  <c:v>638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AFEA-4095-88FF-B230B43DCE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D02DDB-6F23-453C-97CF-6C91E4F09A48}" type="doc">
      <dgm:prSet loTypeId="urn:microsoft.com/office/officeart/2005/8/layout/venn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A274B59-752F-4B09-B16C-A82CB647F797}">
      <dgm:prSet phldrT="[Text]" custT="1"/>
      <dgm:spPr>
        <a:solidFill>
          <a:schemeClr val="accent1">
            <a:hueOff val="0"/>
            <a:satOff val="0"/>
            <a:lumOff val="0"/>
          </a:schemeClr>
        </a:solidFill>
      </dgm:spPr>
      <dgm:t>
        <a:bodyPr/>
        <a:lstStyle/>
        <a:p>
          <a:r>
            <a:rPr lang="en-GB" sz="1100"/>
            <a:t>Improves reliability</a:t>
          </a:r>
        </a:p>
      </dgm:t>
    </dgm:pt>
    <dgm:pt modelId="{4C6F65BD-0E3C-4014-8923-4FF327A46CAC}" type="parTrans" cxnId="{20CB336B-BE5B-43A0-93B5-F133E8D0582D}">
      <dgm:prSet/>
      <dgm:spPr/>
      <dgm:t>
        <a:bodyPr/>
        <a:lstStyle/>
        <a:p>
          <a:endParaRPr lang="en-GB" sz="1100"/>
        </a:p>
      </dgm:t>
    </dgm:pt>
    <dgm:pt modelId="{00321A0C-2BAF-4E62-9882-D8C24A05D07F}" type="sibTrans" cxnId="{20CB336B-BE5B-43A0-93B5-F133E8D0582D}">
      <dgm:prSet/>
      <dgm:spPr/>
      <dgm:t>
        <a:bodyPr/>
        <a:lstStyle/>
        <a:p>
          <a:endParaRPr lang="en-GB" sz="1100"/>
        </a:p>
      </dgm:t>
    </dgm:pt>
    <dgm:pt modelId="{8CBC3269-DE96-4143-AF7F-88153B2CA260}">
      <dgm:prSet phldrT="[Text]" custT="1"/>
      <dgm:spPr>
        <a:solidFill>
          <a:schemeClr val="accent1">
            <a:hueOff val="0"/>
            <a:satOff val="0"/>
            <a:lumOff val="0"/>
          </a:schemeClr>
        </a:solidFill>
      </dgm:spPr>
      <dgm:t>
        <a:bodyPr/>
        <a:lstStyle/>
        <a:p>
          <a:r>
            <a:rPr lang="en-GB" sz="1100"/>
            <a:t>Improves economies of scale</a:t>
          </a:r>
        </a:p>
      </dgm:t>
    </dgm:pt>
    <dgm:pt modelId="{15D58877-046D-4C7A-A901-C4AE911CDFB3}" type="parTrans" cxnId="{B37BCF95-89A7-4028-A074-32DEC0675E8F}">
      <dgm:prSet/>
      <dgm:spPr/>
      <dgm:t>
        <a:bodyPr/>
        <a:lstStyle/>
        <a:p>
          <a:endParaRPr lang="en-GB" sz="1100"/>
        </a:p>
      </dgm:t>
    </dgm:pt>
    <dgm:pt modelId="{CC531E61-0622-4ECA-97E2-22986860A0C5}" type="sibTrans" cxnId="{B37BCF95-89A7-4028-A074-32DEC0675E8F}">
      <dgm:prSet/>
      <dgm:spPr/>
      <dgm:t>
        <a:bodyPr/>
        <a:lstStyle/>
        <a:p>
          <a:endParaRPr lang="en-GB" sz="1100"/>
        </a:p>
      </dgm:t>
    </dgm:pt>
    <dgm:pt modelId="{310E7B57-E4AD-4642-99FB-62863833DD17}">
      <dgm:prSet phldrT="[Text]" custT="1"/>
      <dgm:spPr>
        <a:solidFill>
          <a:schemeClr val="accent1">
            <a:hueOff val="0"/>
            <a:satOff val="0"/>
            <a:lumOff val="0"/>
          </a:schemeClr>
        </a:solidFill>
      </dgm:spPr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100"/>
            <a:t>Creates stable long term jobs</a:t>
          </a:r>
        </a:p>
      </dgm:t>
    </dgm:pt>
    <dgm:pt modelId="{247E3995-D92B-497D-A3B9-454A02AC10C3}" type="parTrans" cxnId="{F44FCB64-4A54-45B6-AD0D-AD69F7A29328}">
      <dgm:prSet/>
      <dgm:spPr/>
      <dgm:t>
        <a:bodyPr/>
        <a:lstStyle/>
        <a:p>
          <a:endParaRPr lang="en-GB" sz="1100"/>
        </a:p>
      </dgm:t>
    </dgm:pt>
    <dgm:pt modelId="{74992ED6-0976-483D-89F6-7870A943F495}" type="sibTrans" cxnId="{F44FCB64-4A54-45B6-AD0D-AD69F7A29328}">
      <dgm:prSet/>
      <dgm:spPr/>
      <dgm:t>
        <a:bodyPr/>
        <a:lstStyle/>
        <a:p>
          <a:endParaRPr lang="en-GB" sz="1100"/>
        </a:p>
      </dgm:t>
    </dgm:pt>
    <dgm:pt modelId="{390DF6D2-D60E-433E-BF4A-0532D6C6B113}">
      <dgm:prSet phldrT="[Text]" custT="1"/>
      <dgm:spPr>
        <a:solidFill>
          <a:schemeClr val="accent1">
            <a:hueOff val="0"/>
            <a:satOff val="0"/>
            <a:lumOff val="0"/>
          </a:schemeClr>
        </a:solidFill>
      </dgm:spPr>
      <dgm:t>
        <a:bodyPr/>
        <a:lstStyle/>
        <a:p>
          <a:r>
            <a:rPr lang="en-GB" sz="1100"/>
            <a:t>Provides schedule certainty </a:t>
          </a:r>
        </a:p>
      </dgm:t>
    </dgm:pt>
    <dgm:pt modelId="{723FBC7D-7FDF-4328-A9B4-639AF21B5AB4}" type="parTrans" cxnId="{4CA6F77C-B949-4B21-BD83-B27FD69FD043}">
      <dgm:prSet/>
      <dgm:spPr/>
      <dgm:t>
        <a:bodyPr/>
        <a:lstStyle/>
        <a:p>
          <a:endParaRPr lang="en-GB" sz="1100"/>
        </a:p>
      </dgm:t>
    </dgm:pt>
    <dgm:pt modelId="{45296277-F73A-4CAB-AA1F-095206CA6EEF}" type="sibTrans" cxnId="{4CA6F77C-B949-4B21-BD83-B27FD69FD043}">
      <dgm:prSet/>
      <dgm:spPr/>
      <dgm:t>
        <a:bodyPr/>
        <a:lstStyle/>
        <a:p>
          <a:endParaRPr lang="en-GB" sz="1100"/>
        </a:p>
      </dgm:t>
    </dgm:pt>
    <dgm:pt modelId="{937F5F44-7A39-4E3A-B1EB-7935C853D6BC}">
      <dgm:prSet custT="1"/>
      <dgm:spPr>
        <a:solidFill>
          <a:schemeClr val="accent1">
            <a:hueOff val="0"/>
            <a:satOff val="0"/>
            <a:lumOff val="0"/>
          </a:schemeClr>
        </a:solidFill>
      </dgm:spPr>
      <dgm:t>
        <a:bodyPr/>
        <a:lstStyle/>
        <a:p>
          <a:r>
            <a:rPr lang="en-GB" sz="1100"/>
            <a:t>Reduces build time</a:t>
          </a:r>
        </a:p>
      </dgm:t>
    </dgm:pt>
    <dgm:pt modelId="{F2E9C489-8167-49D2-8B63-2D3A0959A311}" type="parTrans" cxnId="{6602A9EB-B171-490A-A58A-23799B6C0CE8}">
      <dgm:prSet/>
      <dgm:spPr/>
      <dgm:t>
        <a:bodyPr/>
        <a:lstStyle/>
        <a:p>
          <a:endParaRPr lang="en-GB" sz="1100"/>
        </a:p>
      </dgm:t>
    </dgm:pt>
    <dgm:pt modelId="{7ECB009B-73B6-4E5F-A77D-5A6E46A5F389}" type="sibTrans" cxnId="{6602A9EB-B171-490A-A58A-23799B6C0CE8}">
      <dgm:prSet/>
      <dgm:spPr/>
      <dgm:t>
        <a:bodyPr/>
        <a:lstStyle/>
        <a:p>
          <a:endParaRPr lang="en-GB" sz="1100"/>
        </a:p>
      </dgm:t>
    </dgm:pt>
    <dgm:pt modelId="{4B4AFE2C-2472-48AA-9296-4440F309574A}" type="pres">
      <dgm:prSet presAssocID="{78D02DDB-6F23-453C-97CF-6C91E4F09A48}" presName="Name0" presStyleCnt="0">
        <dgm:presLayoutVars>
          <dgm:dir/>
          <dgm:resizeHandles val="exact"/>
        </dgm:presLayoutVars>
      </dgm:prSet>
      <dgm:spPr/>
    </dgm:pt>
    <dgm:pt modelId="{E76A9375-6B4E-41B2-916A-0F7FA5A04C90}" type="pres">
      <dgm:prSet presAssocID="{6A274B59-752F-4B09-B16C-A82CB647F797}" presName="Name5" presStyleLbl="vennNode1" presStyleIdx="0" presStyleCnt="5">
        <dgm:presLayoutVars>
          <dgm:bulletEnabled val="1"/>
        </dgm:presLayoutVars>
      </dgm:prSet>
      <dgm:spPr/>
    </dgm:pt>
    <dgm:pt modelId="{94F14831-112D-4CA8-BDFC-43C6C7450087}" type="pres">
      <dgm:prSet presAssocID="{00321A0C-2BAF-4E62-9882-D8C24A05D07F}" presName="space" presStyleCnt="0"/>
      <dgm:spPr/>
    </dgm:pt>
    <dgm:pt modelId="{02C19EE9-F00E-4A78-BF9B-3E8E50C529E8}" type="pres">
      <dgm:prSet presAssocID="{8CBC3269-DE96-4143-AF7F-88153B2CA260}" presName="Name5" presStyleLbl="vennNode1" presStyleIdx="1" presStyleCnt="5">
        <dgm:presLayoutVars>
          <dgm:bulletEnabled val="1"/>
        </dgm:presLayoutVars>
      </dgm:prSet>
      <dgm:spPr/>
    </dgm:pt>
    <dgm:pt modelId="{83A9A9BC-E3AA-4687-9E68-4B8724F18B37}" type="pres">
      <dgm:prSet presAssocID="{CC531E61-0622-4ECA-97E2-22986860A0C5}" presName="space" presStyleCnt="0"/>
      <dgm:spPr/>
    </dgm:pt>
    <dgm:pt modelId="{59984B74-9D8B-4CA8-8D7B-EAC8F8EC0D72}" type="pres">
      <dgm:prSet presAssocID="{937F5F44-7A39-4E3A-B1EB-7935C853D6BC}" presName="Name5" presStyleLbl="vennNode1" presStyleIdx="2" presStyleCnt="5">
        <dgm:presLayoutVars>
          <dgm:bulletEnabled val="1"/>
        </dgm:presLayoutVars>
      </dgm:prSet>
      <dgm:spPr/>
    </dgm:pt>
    <dgm:pt modelId="{64C3C8AA-E1DD-49F3-9F1A-5037B28E167A}" type="pres">
      <dgm:prSet presAssocID="{7ECB009B-73B6-4E5F-A77D-5A6E46A5F389}" presName="space" presStyleCnt="0"/>
      <dgm:spPr/>
    </dgm:pt>
    <dgm:pt modelId="{BCB4DDB3-46C9-4A72-BB05-2639FD9C2969}" type="pres">
      <dgm:prSet presAssocID="{310E7B57-E4AD-4642-99FB-62863833DD17}" presName="Name5" presStyleLbl="vennNode1" presStyleIdx="3" presStyleCnt="5">
        <dgm:presLayoutVars>
          <dgm:bulletEnabled val="1"/>
        </dgm:presLayoutVars>
      </dgm:prSet>
      <dgm:spPr/>
    </dgm:pt>
    <dgm:pt modelId="{E3A6C015-37FD-4EB2-9F9A-D786836780AB}" type="pres">
      <dgm:prSet presAssocID="{74992ED6-0976-483D-89F6-7870A943F495}" presName="space" presStyleCnt="0"/>
      <dgm:spPr/>
    </dgm:pt>
    <dgm:pt modelId="{4323D710-E991-4298-9BC9-7E0FD73F1BC5}" type="pres">
      <dgm:prSet presAssocID="{390DF6D2-D60E-433E-BF4A-0532D6C6B113}" presName="Name5" presStyleLbl="vennNode1" presStyleIdx="4" presStyleCnt="5">
        <dgm:presLayoutVars>
          <dgm:bulletEnabled val="1"/>
        </dgm:presLayoutVars>
      </dgm:prSet>
      <dgm:spPr/>
    </dgm:pt>
  </dgm:ptLst>
  <dgm:cxnLst>
    <dgm:cxn modelId="{F06E1F44-4A9F-4FBC-928F-55977E7AE8C8}" type="presOf" srcId="{390DF6D2-D60E-433E-BF4A-0532D6C6B113}" destId="{4323D710-E991-4298-9BC9-7E0FD73F1BC5}" srcOrd="0" destOrd="0" presId="urn:microsoft.com/office/officeart/2005/8/layout/venn3"/>
    <dgm:cxn modelId="{F44FCB64-4A54-45B6-AD0D-AD69F7A29328}" srcId="{78D02DDB-6F23-453C-97CF-6C91E4F09A48}" destId="{310E7B57-E4AD-4642-99FB-62863833DD17}" srcOrd="3" destOrd="0" parTransId="{247E3995-D92B-497D-A3B9-454A02AC10C3}" sibTransId="{74992ED6-0976-483D-89F6-7870A943F495}"/>
    <dgm:cxn modelId="{20CB336B-BE5B-43A0-93B5-F133E8D0582D}" srcId="{78D02DDB-6F23-453C-97CF-6C91E4F09A48}" destId="{6A274B59-752F-4B09-B16C-A82CB647F797}" srcOrd="0" destOrd="0" parTransId="{4C6F65BD-0E3C-4014-8923-4FF327A46CAC}" sibTransId="{00321A0C-2BAF-4E62-9882-D8C24A05D07F}"/>
    <dgm:cxn modelId="{4CA6F77C-B949-4B21-BD83-B27FD69FD043}" srcId="{78D02DDB-6F23-453C-97CF-6C91E4F09A48}" destId="{390DF6D2-D60E-433E-BF4A-0532D6C6B113}" srcOrd="4" destOrd="0" parTransId="{723FBC7D-7FDF-4328-A9B4-639AF21B5AB4}" sibTransId="{45296277-F73A-4CAB-AA1F-095206CA6EEF}"/>
    <dgm:cxn modelId="{310E3C8E-3C67-49A2-B04D-D893026E910C}" type="presOf" srcId="{937F5F44-7A39-4E3A-B1EB-7935C853D6BC}" destId="{59984B74-9D8B-4CA8-8D7B-EAC8F8EC0D72}" srcOrd="0" destOrd="0" presId="urn:microsoft.com/office/officeart/2005/8/layout/venn3"/>
    <dgm:cxn modelId="{B37BCF95-89A7-4028-A074-32DEC0675E8F}" srcId="{78D02DDB-6F23-453C-97CF-6C91E4F09A48}" destId="{8CBC3269-DE96-4143-AF7F-88153B2CA260}" srcOrd="1" destOrd="0" parTransId="{15D58877-046D-4C7A-A901-C4AE911CDFB3}" sibTransId="{CC531E61-0622-4ECA-97E2-22986860A0C5}"/>
    <dgm:cxn modelId="{054C209B-1455-4DDD-8104-9E721BAEF8E9}" type="presOf" srcId="{310E7B57-E4AD-4642-99FB-62863833DD17}" destId="{BCB4DDB3-46C9-4A72-BB05-2639FD9C2969}" srcOrd="0" destOrd="0" presId="urn:microsoft.com/office/officeart/2005/8/layout/venn3"/>
    <dgm:cxn modelId="{E09F70A9-CAB7-4709-AB2A-2D9EBB25E1CC}" type="presOf" srcId="{6A274B59-752F-4B09-B16C-A82CB647F797}" destId="{E76A9375-6B4E-41B2-916A-0F7FA5A04C90}" srcOrd="0" destOrd="0" presId="urn:microsoft.com/office/officeart/2005/8/layout/venn3"/>
    <dgm:cxn modelId="{3D47B0C1-90F9-4B4C-B5BE-7BA5AA01BE3E}" type="presOf" srcId="{8CBC3269-DE96-4143-AF7F-88153B2CA260}" destId="{02C19EE9-F00E-4A78-BF9B-3E8E50C529E8}" srcOrd="0" destOrd="0" presId="urn:microsoft.com/office/officeart/2005/8/layout/venn3"/>
    <dgm:cxn modelId="{5CC98CDB-1D2A-4B45-8932-E62380A6D0EA}" type="presOf" srcId="{78D02DDB-6F23-453C-97CF-6C91E4F09A48}" destId="{4B4AFE2C-2472-48AA-9296-4440F309574A}" srcOrd="0" destOrd="0" presId="urn:microsoft.com/office/officeart/2005/8/layout/venn3"/>
    <dgm:cxn modelId="{6602A9EB-B171-490A-A58A-23799B6C0CE8}" srcId="{78D02DDB-6F23-453C-97CF-6C91E4F09A48}" destId="{937F5F44-7A39-4E3A-B1EB-7935C853D6BC}" srcOrd="2" destOrd="0" parTransId="{F2E9C489-8167-49D2-8B63-2D3A0959A311}" sibTransId="{7ECB009B-73B6-4E5F-A77D-5A6E46A5F389}"/>
    <dgm:cxn modelId="{FC83B023-03F9-4F87-BC48-5602B822676D}" type="presParOf" srcId="{4B4AFE2C-2472-48AA-9296-4440F309574A}" destId="{E76A9375-6B4E-41B2-916A-0F7FA5A04C90}" srcOrd="0" destOrd="0" presId="urn:microsoft.com/office/officeart/2005/8/layout/venn3"/>
    <dgm:cxn modelId="{E356A893-2617-42E3-ADAB-DE404D44E254}" type="presParOf" srcId="{4B4AFE2C-2472-48AA-9296-4440F309574A}" destId="{94F14831-112D-4CA8-BDFC-43C6C7450087}" srcOrd="1" destOrd="0" presId="urn:microsoft.com/office/officeart/2005/8/layout/venn3"/>
    <dgm:cxn modelId="{348938D0-B6E1-4557-BDC3-FCCFD5AF5FFE}" type="presParOf" srcId="{4B4AFE2C-2472-48AA-9296-4440F309574A}" destId="{02C19EE9-F00E-4A78-BF9B-3E8E50C529E8}" srcOrd="2" destOrd="0" presId="urn:microsoft.com/office/officeart/2005/8/layout/venn3"/>
    <dgm:cxn modelId="{0D1A24F4-6DF8-4F4B-A930-2547BD168E50}" type="presParOf" srcId="{4B4AFE2C-2472-48AA-9296-4440F309574A}" destId="{83A9A9BC-E3AA-4687-9E68-4B8724F18B37}" srcOrd="3" destOrd="0" presId="urn:microsoft.com/office/officeart/2005/8/layout/venn3"/>
    <dgm:cxn modelId="{E29FFE2B-A32C-4B67-B473-3F93CCF3DB9F}" type="presParOf" srcId="{4B4AFE2C-2472-48AA-9296-4440F309574A}" destId="{59984B74-9D8B-4CA8-8D7B-EAC8F8EC0D72}" srcOrd="4" destOrd="0" presId="urn:microsoft.com/office/officeart/2005/8/layout/venn3"/>
    <dgm:cxn modelId="{05CEC7F9-620C-44C0-95E5-224E6AF87D2C}" type="presParOf" srcId="{4B4AFE2C-2472-48AA-9296-4440F309574A}" destId="{64C3C8AA-E1DD-49F3-9F1A-5037B28E167A}" srcOrd="5" destOrd="0" presId="urn:microsoft.com/office/officeart/2005/8/layout/venn3"/>
    <dgm:cxn modelId="{5A9B1FB6-CD04-4C93-AB62-B4DE29D4EEA0}" type="presParOf" srcId="{4B4AFE2C-2472-48AA-9296-4440F309574A}" destId="{BCB4DDB3-46C9-4A72-BB05-2639FD9C2969}" srcOrd="6" destOrd="0" presId="urn:microsoft.com/office/officeart/2005/8/layout/venn3"/>
    <dgm:cxn modelId="{B3C7808A-6C23-45D1-9867-98BA19B82FFA}" type="presParOf" srcId="{4B4AFE2C-2472-48AA-9296-4440F309574A}" destId="{E3A6C015-37FD-4EB2-9F9A-D786836780AB}" srcOrd="7" destOrd="0" presId="urn:microsoft.com/office/officeart/2005/8/layout/venn3"/>
    <dgm:cxn modelId="{E4451587-A29B-4C31-8725-EBD708EE555A}" type="presParOf" srcId="{4B4AFE2C-2472-48AA-9296-4440F309574A}" destId="{4323D710-E991-4298-9BC9-7E0FD73F1BC5}" srcOrd="8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6A9375-6B4E-41B2-916A-0F7FA5A04C90}">
      <dsp:nvSpPr>
        <dsp:cNvPr id="0" name=""/>
        <dsp:cNvSpPr/>
      </dsp:nvSpPr>
      <dsp:spPr>
        <a:xfrm>
          <a:off x="117156" y="465"/>
          <a:ext cx="1367068" cy="1367068"/>
        </a:xfrm>
        <a:prstGeom prst="ellipse">
          <a:avLst/>
        </a:prstGeom>
        <a:solidFill>
          <a:schemeClr val="accent1">
            <a:hueOff val="0"/>
            <a:satOff val="0"/>
            <a:lum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5234" tIns="13970" rIns="75234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Improves reliability</a:t>
          </a:r>
        </a:p>
      </dsp:txBody>
      <dsp:txXfrm>
        <a:off x="317358" y="200667"/>
        <a:ext cx="966664" cy="966664"/>
      </dsp:txXfrm>
    </dsp:sp>
    <dsp:sp modelId="{02C19EE9-F00E-4A78-BF9B-3E8E50C529E8}">
      <dsp:nvSpPr>
        <dsp:cNvPr id="0" name=""/>
        <dsp:cNvSpPr/>
      </dsp:nvSpPr>
      <dsp:spPr>
        <a:xfrm>
          <a:off x="1210811" y="465"/>
          <a:ext cx="1367068" cy="1367068"/>
        </a:xfrm>
        <a:prstGeom prst="ellipse">
          <a:avLst/>
        </a:prstGeom>
        <a:solidFill>
          <a:schemeClr val="accent1">
            <a:hueOff val="0"/>
            <a:satOff val="0"/>
            <a:lum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5234" tIns="13970" rIns="75234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Improves economies of scale</a:t>
          </a:r>
        </a:p>
      </dsp:txBody>
      <dsp:txXfrm>
        <a:off x="1411013" y="200667"/>
        <a:ext cx="966664" cy="966664"/>
      </dsp:txXfrm>
    </dsp:sp>
    <dsp:sp modelId="{59984B74-9D8B-4CA8-8D7B-EAC8F8EC0D72}">
      <dsp:nvSpPr>
        <dsp:cNvPr id="0" name=""/>
        <dsp:cNvSpPr/>
      </dsp:nvSpPr>
      <dsp:spPr>
        <a:xfrm>
          <a:off x="2304465" y="465"/>
          <a:ext cx="1367068" cy="1367068"/>
        </a:xfrm>
        <a:prstGeom prst="ellipse">
          <a:avLst/>
        </a:prstGeom>
        <a:solidFill>
          <a:schemeClr val="accent1">
            <a:hueOff val="0"/>
            <a:satOff val="0"/>
            <a:lum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5234" tIns="13970" rIns="75234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Reduces build time</a:t>
          </a:r>
        </a:p>
      </dsp:txBody>
      <dsp:txXfrm>
        <a:off x="2504667" y="200667"/>
        <a:ext cx="966664" cy="966664"/>
      </dsp:txXfrm>
    </dsp:sp>
    <dsp:sp modelId="{BCB4DDB3-46C9-4A72-BB05-2639FD9C2969}">
      <dsp:nvSpPr>
        <dsp:cNvPr id="0" name=""/>
        <dsp:cNvSpPr/>
      </dsp:nvSpPr>
      <dsp:spPr>
        <a:xfrm>
          <a:off x="3398120" y="465"/>
          <a:ext cx="1367068" cy="1367068"/>
        </a:xfrm>
        <a:prstGeom prst="ellipse">
          <a:avLst/>
        </a:prstGeom>
        <a:solidFill>
          <a:schemeClr val="accent1">
            <a:hueOff val="0"/>
            <a:satOff val="0"/>
            <a:lum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5234" tIns="13970" rIns="75234" bIns="1397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100" kern="1200"/>
            <a:t>Creates stable long term jobs</a:t>
          </a:r>
        </a:p>
      </dsp:txBody>
      <dsp:txXfrm>
        <a:off x="3598322" y="200667"/>
        <a:ext cx="966664" cy="966664"/>
      </dsp:txXfrm>
    </dsp:sp>
    <dsp:sp modelId="{4323D710-E991-4298-9BC9-7E0FD73F1BC5}">
      <dsp:nvSpPr>
        <dsp:cNvPr id="0" name=""/>
        <dsp:cNvSpPr/>
      </dsp:nvSpPr>
      <dsp:spPr>
        <a:xfrm>
          <a:off x="4491775" y="465"/>
          <a:ext cx="1367068" cy="1367068"/>
        </a:xfrm>
        <a:prstGeom prst="ellipse">
          <a:avLst/>
        </a:prstGeom>
        <a:solidFill>
          <a:schemeClr val="accent1">
            <a:hueOff val="0"/>
            <a:satOff val="0"/>
            <a:lum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5234" tIns="13970" rIns="75234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/>
            <a:t>Provides schedule certainty </a:t>
          </a:r>
        </a:p>
      </dsp:txBody>
      <dsp:txXfrm>
        <a:off x="4691977" y="200667"/>
        <a:ext cx="966664" cy="9666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D246386-D4AC-4488-8E0A-79836C620B3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AEE655A-310A-4DDC-9A4D-FB6D9357B52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FCA1A2-27AC-4355-B8AA-F8A5496EBF7A}" type="datetimeFigureOut">
              <a:rPr lang="en-GB" smtClean="0"/>
              <a:t>09/0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4E797C-14B1-4FFD-A7DA-C2F08D6F88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SPP-22 Issue 1 | Private – Commercially Sensitive | © 2022 Rolls-Royce SMR Ltd | Not subject to Export Control | Document No – Revision No | Retention Category [A or B]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8C6142-7549-415A-97EF-6513EB92467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F6BFD1-DD1E-4479-B271-6185B41B9E8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853811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CCA97D-FE45-304D-B2E4-754B1B21713E}" type="datetimeFigureOut">
              <a:rPr lang="en-GB" smtClean="0"/>
              <a:t>09/0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SPP-22 Issue 1 | Private – Commercially Sensitive | © 2022 Rolls-Royce SMR Ltd | Not subject to Export Control | Document No – Revision No | Retention Category [A or B]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FCB92F-71F4-3F4A-B702-797A5202DF0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3800867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CB92F-71F4-3F4A-B702-797A5202DF05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95848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t the heart of our design</a:t>
            </a:r>
          </a:p>
          <a:p>
            <a:r>
              <a:rPr lang="en-GB" dirty="0"/>
              <a:t>All to a standard pattern</a:t>
            </a:r>
          </a:p>
          <a:p>
            <a:r>
              <a:rPr lang="en-GB" dirty="0"/>
              <a:t>Road and rail transportabl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CB92F-71F4-3F4A-B702-797A5202DF05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21396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nufactured in 3 main factories</a:t>
            </a:r>
          </a:p>
          <a:p>
            <a:r>
              <a:rPr lang="en-GB" dirty="0"/>
              <a:t>The 4</a:t>
            </a:r>
            <a:r>
              <a:rPr lang="en-GB" baseline="30000" dirty="0"/>
              <a:t>th</a:t>
            </a:r>
            <a:r>
              <a:rPr lang="en-GB" dirty="0"/>
              <a:t> is then the on-site factory</a:t>
            </a:r>
          </a:p>
          <a:p>
            <a:r>
              <a:rPr lang="en-GB" dirty="0"/>
              <a:t>Manufacturing hubs around the world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B6AAE9-A8BC-48FD-92FA-80EC32FDAD2D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4090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P-22 Issue 1 | Private – Commercially Sensitive | © 2022 Rolls-Royce SMR Ltd | Not subject to Export Control | Document No – Revision No | Retention Category [A or B]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CB92F-71F4-3F4A-B702-797A5202DF0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54027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B6AAE9-A8BC-48FD-92FA-80EC32FDAD2D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34206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C0EA8B35-B52C-41F6-B74A-124F2D3BF5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EFBF34-FCEC-4BD4-963C-A47899FC74D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24637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CB92F-71F4-3F4A-B702-797A5202DF0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82799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SPP-22 Issue 1 | Private – Commercially Sensitive | © 2022 Rolls-Royce SMR Ltd | Not subject to Export Control | Document No – Revision No | Retention Category [A or B]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CB92F-71F4-3F4A-B702-797A5202DF05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82595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R is a power generation company </a:t>
            </a:r>
          </a:p>
          <a:p>
            <a:r>
              <a:rPr lang="en-GB" dirty="0"/>
              <a:t>Routed in the gas turbine</a:t>
            </a:r>
          </a:p>
          <a:p>
            <a:r>
              <a:rPr lang="en-GB" dirty="0"/>
              <a:t>BUT – always had a strong nuclear heritage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EFBF34-FCEC-4BD4-963C-A47899FC74D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63772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Just over 1 year ago RR SMR launched as a standalone business to do one thing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B6AAE9-A8BC-48FD-92FA-80EC32FDAD2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45525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 in that context, why do we think SMRs have such a significant role to play? </a:t>
            </a:r>
          </a:p>
          <a:p>
            <a:r>
              <a:rPr lang="en-GB" dirty="0"/>
              <a:t>Because they seek to address the main barriers to deployment of nuclear power today</a:t>
            </a:r>
          </a:p>
          <a:p>
            <a:r>
              <a:rPr lang="en-GB" dirty="0"/>
              <a:t>Cost</a:t>
            </a:r>
          </a:p>
          <a:p>
            <a:r>
              <a:rPr lang="en-GB" dirty="0"/>
              <a:t>Certainty</a:t>
            </a:r>
          </a:p>
          <a:p>
            <a:r>
              <a:rPr lang="en-GB" dirty="0"/>
              <a:t>Time</a:t>
            </a:r>
          </a:p>
          <a:p>
            <a:r>
              <a:rPr lang="en-GB" dirty="0"/>
              <a:t>While adding flexibility of deployment options and applications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B6AAE9-A8BC-48FD-92FA-80EC32FDAD2D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1518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CB92F-71F4-3F4A-B702-797A5202DF0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38188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simple equation has driven our design choices from day one</a:t>
            </a:r>
          </a:p>
          <a:p>
            <a:r>
              <a:rPr lang="en-GB" dirty="0"/>
              <a:t>Get the top line down and bottom line up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EFBF34-FCEC-4BD4-963C-A47899FC74D0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63812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CB92F-71F4-3F4A-B702-797A5202DF0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29186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CB92F-71F4-3F4A-B702-797A5202DF0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3687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ow? </a:t>
            </a:r>
          </a:p>
          <a:p>
            <a:r>
              <a:rPr lang="en-GB" dirty="0"/>
              <a:t>By producing a standardised, factory built, site assembled commodity. </a:t>
            </a:r>
          </a:p>
          <a:p>
            <a:r>
              <a:rPr lang="en-GB" dirty="0"/>
              <a:t>This picture starts to give you a view of the modular approach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CB92F-71F4-3F4A-B702-797A5202DF05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98810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EAB9CFF-EDF9-4D34-B6C0-8975CA5526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3620" y="0"/>
            <a:ext cx="6850380" cy="4637334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AEB490C-9F77-4B2B-895C-83B4F1D1AE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0547" y="1526105"/>
            <a:ext cx="5319077" cy="5185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1"/>
                </a:solidFill>
                <a:latin typeface="RR Pioneer Bold" panose="020B0803050201040103" pitchFamily="34" charset="0"/>
              </a:defRPr>
            </a:lvl1pPr>
          </a:lstStyle>
          <a:p>
            <a:pPr lvl="0"/>
            <a:r>
              <a:rPr lang="en-US"/>
              <a:t>Standard presentation</a:t>
            </a:r>
            <a:endParaRPr lang="en-GB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E3CE3681-E8B1-4106-9D5C-28AD774CA3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0547" y="2003435"/>
            <a:ext cx="5319077" cy="3333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RR Pioneer" panose="020B05030502010401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sub-title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9A983F41-D3FD-4E15-BD9F-EAE3A8037E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70547" y="2563670"/>
            <a:ext cx="5319077" cy="2504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>
                <a:solidFill>
                  <a:schemeClr val="tx1"/>
                </a:solidFill>
                <a:latin typeface="RR Pioneer" panose="020B0503050201040103" pitchFamily="34" charset="0"/>
              </a:defRPr>
            </a:lvl1pPr>
          </a:lstStyle>
          <a:p>
            <a:pPr lvl="0"/>
            <a:r>
              <a:rPr lang="en-US"/>
              <a:t>Author Name, Job Title</a:t>
            </a:r>
            <a:endParaRPr lang="en-GB"/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F6D4537E-02BA-4044-A3E6-F6F14EA712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70547" y="2782737"/>
            <a:ext cx="5319077" cy="3495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  <a:latin typeface="RR Pioneer" panose="020B0503050201040103" pitchFamily="34" charset="0"/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pic>
        <p:nvPicPr>
          <p:cNvPr id="11" name="Picture 10" descr="A picture containing logo&#10;&#10;Description automatically generated">
            <a:extLst>
              <a:ext uri="{FF2B5EF4-FFF2-40B4-BE49-F238E27FC236}">
                <a16:creationId xmlns:a16="http://schemas.microsoft.com/office/drawing/2014/main" id="{B75F63C8-6E64-D246-87CD-AFBE307522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170" y="1610558"/>
            <a:ext cx="1950402" cy="114628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95CE8BF-18F6-C6CE-4CE0-7BDB261B43D8}"/>
              </a:ext>
            </a:extLst>
          </p:cNvPr>
          <p:cNvSpPr txBox="1"/>
          <p:nvPr userDrawn="1"/>
        </p:nvSpPr>
        <p:spPr>
          <a:xfrm>
            <a:off x="268199" y="3494504"/>
            <a:ext cx="1785600" cy="8463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700" dirty="0">
                <a:solidFill>
                  <a:srgbClr val="10069F"/>
                </a:solidFill>
              </a:rPr>
              <a:t>This information is provided by Rolls-Royce SMR in good faith based upon the latest information available to it; no warranty or representation is given; no contractual or other binding commitment is implied</a:t>
            </a:r>
          </a:p>
          <a:p>
            <a:pPr algn="ctr"/>
            <a:endParaRPr lang="en-US" sz="700" b="0" dirty="0">
              <a:solidFill>
                <a:srgbClr val="10069F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224757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R Text 1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4BDC6EDA-61A6-1F43-A323-D04A804B3689}"/>
              </a:ext>
            </a:extLst>
          </p:cNvPr>
          <p:cNvSpPr/>
          <p:nvPr userDrawn="1"/>
        </p:nvSpPr>
        <p:spPr>
          <a:xfrm>
            <a:off x="1" y="1095375"/>
            <a:ext cx="9144000" cy="3400723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RR Pioneer" panose="020B0503050201040103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C1DB294-815B-864B-8A09-8E4A844D3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2962" y="323965"/>
            <a:ext cx="7444196" cy="516824"/>
          </a:xfrm>
        </p:spPr>
        <p:txBody>
          <a:bodyPr anchor="ctr">
            <a:normAutofit/>
          </a:bodyPr>
          <a:lstStyle>
            <a:lvl1pPr>
              <a:defRPr sz="2400" b="0">
                <a:solidFill>
                  <a:srgbClr val="4F98FF"/>
                </a:solidFill>
              </a:defRPr>
            </a:lvl1pPr>
          </a:lstStyle>
          <a:p>
            <a:r>
              <a:rPr lang="en-US"/>
              <a:t>Option one slide</a:t>
            </a:r>
            <a:endParaRPr lang="en-GB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4C41B4F-8C53-094C-BEB7-55E8B7030C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1051" y="1462527"/>
            <a:ext cx="8143161" cy="26257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4F98FF"/>
              </a:buClr>
              <a:defRPr sz="2000">
                <a:solidFill>
                  <a:srgbClr val="10069F"/>
                </a:solidFill>
              </a:defRPr>
            </a:lvl1pPr>
            <a:lvl2pPr>
              <a:buClr>
                <a:srgbClr val="4F98FF"/>
              </a:buClr>
              <a:defRPr sz="1800">
                <a:solidFill>
                  <a:srgbClr val="10069F"/>
                </a:solidFill>
              </a:defRPr>
            </a:lvl2pPr>
            <a:lvl3pPr>
              <a:buClr>
                <a:srgbClr val="4F98FF"/>
              </a:buClr>
              <a:defRPr sz="1800">
                <a:solidFill>
                  <a:srgbClr val="10069F"/>
                </a:solidFill>
              </a:defRPr>
            </a:lvl3pPr>
            <a:lvl4pPr>
              <a:buClr>
                <a:srgbClr val="4F98FF"/>
              </a:buClr>
              <a:defRPr sz="1200">
                <a:solidFill>
                  <a:srgbClr val="10069F"/>
                </a:solidFill>
              </a:defRPr>
            </a:lvl4pPr>
            <a:lvl5pPr>
              <a:buClr>
                <a:srgbClr val="4F98FF"/>
              </a:buClr>
              <a:defRPr sz="1200">
                <a:solidFill>
                  <a:srgbClr val="10069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3FF0178-E240-9844-B661-8E4FDA444F40}"/>
              </a:ext>
            </a:extLst>
          </p:cNvPr>
          <p:cNvCxnSpPr>
            <a:cxnSpLocks/>
          </p:cNvCxnSpPr>
          <p:nvPr/>
        </p:nvCxnSpPr>
        <p:spPr>
          <a:xfrm>
            <a:off x="117177" y="4983808"/>
            <a:ext cx="85064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picture containing logo&#10;&#10;Description automatically generated">
            <a:extLst>
              <a:ext uri="{FF2B5EF4-FFF2-40B4-BE49-F238E27FC236}">
                <a16:creationId xmlns:a16="http://schemas.microsoft.com/office/drawing/2014/main" id="{AA307F8F-4EFD-D042-9A60-E3D04AB7DF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73" y="132662"/>
            <a:ext cx="1148278" cy="674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7083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MR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4681208-DD42-455B-A86B-AAB9F9B60427}"/>
              </a:ext>
            </a:extLst>
          </p:cNvPr>
          <p:cNvSpPr/>
          <p:nvPr/>
        </p:nvSpPr>
        <p:spPr>
          <a:xfrm>
            <a:off x="2274898" y="0"/>
            <a:ext cx="6869102" cy="4611353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F8D25FF-12DE-403E-AF55-F46AC39349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033" y="956917"/>
            <a:ext cx="1786647" cy="9556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1500" kern="1200" dirty="0">
                <a:solidFill>
                  <a:srgbClr val="006DFF"/>
                </a:solidFill>
                <a:latin typeface="RR Pioneer Bold" panose="020B0803050201040103" pitchFamily="34" charset="0"/>
                <a:ea typeface="+mn-ea"/>
                <a:cs typeface="Arial" panose="020B0604020202020204" pitchFamily="34" charset="0"/>
              </a:defRPr>
            </a:lvl1pPr>
            <a:lvl2pPr indent="0" algn="l" defTabSz="685800" rtl="0" eaLnBrk="1" latinLnBrk="0" hangingPunct="1">
              <a:lnSpc>
                <a:spcPct val="90000"/>
              </a:lnSpc>
              <a:buFont typeface="Arial" panose="020B0604020202020204" pitchFamily="34" charset="0"/>
              <a:buNone/>
              <a:defRPr lang="en-US" sz="15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indent="0" algn="l" defTabSz="685800" rtl="0" eaLnBrk="1" latinLnBrk="0" hangingPunct="1">
              <a:lnSpc>
                <a:spcPct val="90000"/>
              </a:lnSpc>
              <a:buFont typeface="Arial" panose="020B0604020202020204" pitchFamily="34" charset="0"/>
              <a:buNone/>
              <a:defRPr lang="en-US" sz="15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indent="0" algn="l" defTabSz="685800" rtl="0" eaLnBrk="1" latinLnBrk="0" hangingPunct="1">
              <a:lnSpc>
                <a:spcPct val="90000"/>
              </a:lnSpc>
              <a:buFont typeface="Arial" panose="020B0604020202020204" pitchFamily="34" charset="0"/>
              <a:buNone/>
              <a:defRPr lang="en-US" sz="15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indent="0" algn="l" defTabSz="685800" rtl="0" eaLnBrk="1" latinLnBrk="0" hangingPunct="1">
              <a:lnSpc>
                <a:spcPct val="90000"/>
              </a:lnSpc>
              <a:buFont typeface="Arial" panose="020B0604020202020204" pitchFamily="34" charset="0"/>
              <a:buNone/>
              <a:defRPr lang="en-GB"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GB"/>
              <a:t>Sidebar headings are RR Pioneer bold 15pt (Cobalt)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66289E94-30A9-AD40-97C1-9575F5C5BDD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46176" y="1797008"/>
            <a:ext cx="1785600" cy="21168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0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RR pioneer 10</a:t>
            </a:r>
          </a:p>
        </p:txBody>
      </p:sp>
      <p:pic>
        <p:nvPicPr>
          <p:cNvPr id="15" name="Picture 14" descr="A picture containing logo&#10;&#10;Description automatically generated">
            <a:extLst>
              <a:ext uri="{FF2B5EF4-FFF2-40B4-BE49-F238E27FC236}">
                <a16:creationId xmlns:a16="http://schemas.microsoft.com/office/drawing/2014/main" id="{2DF63156-1C4F-224E-B14F-CDC34A7528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73" y="132662"/>
            <a:ext cx="1148278" cy="674865"/>
          </a:xfrm>
          <a:prstGeom prst="rect">
            <a:avLst/>
          </a:prstGeom>
        </p:spPr>
      </p:pic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AE0EBB2A-179D-4389-B01C-FC5C02DD6C2D}"/>
              </a:ext>
            </a:extLst>
          </p:cNvPr>
          <p:cNvSpPr txBox="1">
            <a:spLocks/>
          </p:cNvSpPr>
          <p:nvPr userDrawn="1"/>
        </p:nvSpPr>
        <p:spPr>
          <a:xfrm>
            <a:off x="2487600" y="842400"/>
            <a:ext cx="741600" cy="676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kern="1200" spc="400" baseline="0">
                <a:solidFill>
                  <a:srgbClr val="00BFBD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  <a:lvl2pPr marL="1714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400" normalizeH="0" baseline="0" noProof="0">
                <a:ln>
                  <a:noFill/>
                </a:ln>
                <a:solidFill>
                  <a:srgbClr val="00BFBD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+mn-cs"/>
              </a:rPr>
              <a:t>XX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BC263CA0-C7E4-46EC-A0F7-B81E1A5210E2}"/>
              </a:ext>
            </a:extLst>
          </p:cNvPr>
          <p:cNvSpPr txBox="1">
            <a:spLocks/>
          </p:cNvSpPr>
          <p:nvPr userDrawn="1"/>
        </p:nvSpPr>
        <p:spPr>
          <a:xfrm>
            <a:off x="3330000" y="986400"/>
            <a:ext cx="2257200" cy="6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87325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Subject title</a:t>
            </a:r>
          </a:p>
          <a:p>
            <a:pPr marL="0" marR="0" lvl="1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0069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Presenter name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A8734004-7120-43A6-B4DE-E0C835F86CC9}"/>
              </a:ext>
            </a:extLst>
          </p:cNvPr>
          <p:cNvSpPr txBox="1">
            <a:spLocks/>
          </p:cNvSpPr>
          <p:nvPr userDrawn="1"/>
        </p:nvSpPr>
        <p:spPr>
          <a:xfrm>
            <a:off x="2487600" y="1782000"/>
            <a:ext cx="741600" cy="676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kern="1200" spc="400" baseline="0">
                <a:solidFill>
                  <a:schemeClr val="tx2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  <a:lvl2pPr marL="1714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400" normalizeH="0" baseline="0" noProof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+mn-cs"/>
              </a:rPr>
              <a:t>XX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E097D76F-9D8B-46DE-B149-7ECDAC64C4CC}"/>
              </a:ext>
            </a:extLst>
          </p:cNvPr>
          <p:cNvSpPr txBox="1">
            <a:spLocks/>
          </p:cNvSpPr>
          <p:nvPr userDrawn="1"/>
        </p:nvSpPr>
        <p:spPr>
          <a:xfrm>
            <a:off x="3330000" y="1926000"/>
            <a:ext cx="2257200" cy="64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87325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Subject title</a:t>
            </a:r>
          </a:p>
          <a:p>
            <a:pPr marL="0" marR="0" lvl="1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0069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Presenter nam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51BF5D19-2524-4023-A6DB-C62A1E694067}"/>
              </a:ext>
            </a:extLst>
          </p:cNvPr>
          <p:cNvSpPr txBox="1">
            <a:spLocks/>
          </p:cNvSpPr>
          <p:nvPr userDrawn="1"/>
        </p:nvSpPr>
        <p:spPr>
          <a:xfrm>
            <a:off x="2487600" y="2728800"/>
            <a:ext cx="741600" cy="676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kern="1200" spc="400" baseline="0">
                <a:solidFill>
                  <a:schemeClr val="accent4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  <a:lvl2pPr marL="1714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400" normalizeH="0" baseline="0" noProof="0">
                <a:ln>
                  <a:noFill/>
                </a:ln>
                <a:solidFill>
                  <a:srgbClr val="880E4F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+mn-cs"/>
              </a:rPr>
              <a:t>XX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015BEC4B-84DD-439F-9A24-D9F069965568}"/>
              </a:ext>
            </a:extLst>
          </p:cNvPr>
          <p:cNvSpPr txBox="1">
            <a:spLocks/>
          </p:cNvSpPr>
          <p:nvPr userDrawn="1"/>
        </p:nvSpPr>
        <p:spPr>
          <a:xfrm>
            <a:off x="3330000" y="2862000"/>
            <a:ext cx="2257200" cy="6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87325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Subject title</a:t>
            </a:r>
          </a:p>
          <a:p>
            <a:pPr marL="0" marR="0" lvl="1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0069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Presenter nam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CF8C151C-AD2A-443C-88AC-9F9CC186EA21}"/>
              </a:ext>
            </a:extLst>
          </p:cNvPr>
          <p:cNvSpPr txBox="1">
            <a:spLocks/>
          </p:cNvSpPr>
          <p:nvPr userDrawn="1"/>
        </p:nvSpPr>
        <p:spPr>
          <a:xfrm>
            <a:off x="2487600" y="3668400"/>
            <a:ext cx="741600" cy="676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kern="1200" spc="400" baseline="0">
                <a:solidFill>
                  <a:schemeClr val="accent3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  <a:lvl2pPr marL="1714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400" normalizeH="0" baseline="0" noProof="0">
                <a:ln>
                  <a:noFill/>
                </a:ln>
                <a:solidFill>
                  <a:srgbClr val="D83F11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+mn-cs"/>
              </a:rPr>
              <a:t>XX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289943B1-CB7C-4F92-8616-A019D28AC849}"/>
              </a:ext>
            </a:extLst>
          </p:cNvPr>
          <p:cNvSpPr txBox="1">
            <a:spLocks/>
          </p:cNvSpPr>
          <p:nvPr userDrawn="1"/>
        </p:nvSpPr>
        <p:spPr>
          <a:xfrm>
            <a:off x="3330000" y="3801600"/>
            <a:ext cx="2257200" cy="6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87325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Subject title</a:t>
            </a:r>
          </a:p>
          <a:p>
            <a:pPr marL="0" marR="0" lvl="1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0069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Presenter name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A886CE49-617C-4F1C-B5FE-C37EAC2225E0}"/>
              </a:ext>
            </a:extLst>
          </p:cNvPr>
          <p:cNvSpPr txBox="1">
            <a:spLocks/>
          </p:cNvSpPr>
          <p:nvPr userDrawn="1"/>
        </p:nvSpPr>
        <p:spPr>
          <a:xfrm>
            <a:off x="5720400" y="842400"/>
            <a:ext cx="741600" cy="676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kern="1200" spc="400" baseline="0">
                <a:solidFill>
                  <a:schemeClr val="accent5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  <a:lvl2pPr marL="1714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400" normalizeH="0" baseline="0" noProof="0">
                <a:ln>
                  <a:noFill/>
                </a:ln>
                <a:solidFill>
                  <a:srgbClr val="58099C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+mn-cs"/>
              </a:rPr>
              <a:t>XX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063EF4EE-CAD1-42B7-8ECE-695531B6C6DB}"/>
              </a:ext>
            </a:extLst>
          </p:cNvPr>
          <p:cNvSpPr txBox="1">
            <a:spLocks/>
          </p:cNvSpPr>
          <p:nvPr userDrawn="1"/>
        </p:nvSpPr>
        <p:spPr>
          <a:xfrm>
            <a:off x="6562800" y="986400"/>
            <a:ext cx="2257200" cy="6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87325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Subject title</a:t>
            </a:r>
          </a:p>
          <a:p>
            <a:pPr marL="0" marR="0" lvl="1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0069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Presenter nam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2D646BE8-3D99-4801-861A-D89777C3EC31}"/>
              </a:ext>
            </a:extLst>
          </p:cNvPr>
          <p:cNvSpPr txBox="1">
            <a:spLocks/>
          </p:cNvSpPr>
          <p:nvPr userDrawn="1"/>
        </p:nvSpPr>
        <p:spPr>
          <a:xfrm>
            <a:off x="5720400" y="1782000"/>
            <a:ext cx="741600" cy="676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kern="1200" spc="400" baseline="0">
                <a:solidFill>
                  <a:schemeClr val="accent6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  <a:lvl2pPr marL="1714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400" normalizeH="0" baseline="0" noProof="0">
                <a:ln>
                  <a:noFill/>
                </a:ln>
                <a:solidFill>
                  <a:srgbClr val="819C00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+mn-cs"/>
              </a:rPr>
              <a:t>XX</a:t>
            </a:r>
          </a:p>
        </p:txBody>
      </p:sp>
      <p:sp>
        <p:nvSpPr>
          <p:cNvPr id="31" name="Text Placeholder 17">
            <a:extLst>
              <a:ext uri="{FF2B5EF4-FFF2-40B4-BE49-F238E27FC236}">
                <a16:creationId xmlns:a16="http://schemas.microsoft.com/office/drawing/2014/main" id="{00620202-40E7-4B59-8DCC-A62DC06FF32F}"/>
              </a:ext>
            </a:extLst>
          </p:cNvPr>
          <p:cNvSpPr txBox="1">
            <a:spLocks/>
          </p:cNvSpPr>
          <p:nvPr userDrawn="1"/>
        </p:nvSpPr>
        <p:spPr>
          <a:xfrm>
            <a:off x="6562800" y="1926000"/>
            <a:ext cx="2257200" cy="648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87325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Subject title</a:t>
            </a:r>
          </a:p>
          <a:p>
            <a:pPr marL="0" marR="0" lvl="1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0069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Presenter name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64B64966-FDB5-4C02-8C02-059852167C54}"/>
              </a:ext>
            </a:extLst>
          </p:cNvPr>
          <p:cNvSpPr txBox="1">
            <a:spLocks/>
          </p:cNvSpPr>
          <p:nvPr userDrawn="1"/>
        </p:nvSpPr>
        <p:spPr>
          <a:xfrm>
            <a:off x="5720400" y="2728800"/>
            <a:ext cx="741600" cy="676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kern="1200" spc="400" baseline="0">
                <a:solidFill>
                  <a:srgbClr val="E21D60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  <a:lvl2pPr marL="1714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400" normalizeH="0" baseline="0" noProof="0">
                <a:ln>
                  <a:noFill/>
                </a:ln>
                <a:solidFill>
                  <a:srgbClr val="E21D60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+mn-cs"/>
              </a:rPr>
              <a:t>XX</a:t>
            </a:r>
          </a:p>
        </p:txBody>
      </p: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A9C5A1DF-7472-468D-B11A-01DEFDA0FE7D}"/>
              </a:ext>
            </a:extLst>
          </p:cNvPr>
          <p:cNvSpPr txBox="1">
            <a:spLocks/>
          </p:cNvSpPr>
          <p:nvPr userDrawn="1"/>
        </p:nvSpPr>
        <p:spPr>
          <a:xfrm>
            <a:off x="6562800" y="2862000"/>
            <a:ext cx="2257200" cy="6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87325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Subject title</a:t>
            </a:r>
          </a:p>
          <a:p>
            <a:pPr marL="0" marR="0" lvl="1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0069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Presenter name</a:t>
            </a:r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0350FF59-17D4-4DF9-A121-03EA450B94C0}"/>
              </a:ext>
            </a:extLst>
          </p:cNvPr>
          <p:cNvSpPr txBox="1">
            <a:spLocks/>
          </p:cNvSpPr>
          <p:nvPr userDrawn="1"/>
        </p:nvSpPr>
        <p:spPr>
          <a:xfrm>
            <a:off x="5720400" y="3668400"/>
            <a:ext cx="741600" cy="6768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3200" kern="1200" spc="400" baseline="0">
                <a:solidFill>
                  <a:schemeClr val="bg2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  <a:lvl2pPr marL="1714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0" i="0" u="none" strike="noStrike" kern="1200" cap="none" spc="400" normalizeH="0" baseline="0" noProof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+mn-cs"/>
              </a:rPr>
              <a:t>XX</a:t>
            </a:r>
          </a:p>
        </p:txBody>
      </p:sp>
      <p:sp>
        <p:nvSpPr>
          <p:cNvPr id="35" name="Text Placeholder 17">
            <a:extLst>
              <a:ext uri="{FF2B5EF4-FFF2-40B4-BE49-F238E27FC236}">
                <a16:creationId xmlns:a16="http://schemas.microsoft.com/office/drawing/2014/main" id="{CD20BAA6-690F-4511-857B-27CC8BA41D51}"/>
              </a:ext>
            </a:extLst>
          </p:cNvPr>
          <p:cNvSpPr txBox="1">
            <a:spLocks/>
          </p:cNvSpPr>
          <p:nvPr userDrawn="1"/>
        </p:nvSpPr>
        <p:spPr>
          <a:xfrm>
            <a:off x="6562800" y="3801600"/>
            <a:ext cx="2257200" cy="6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rgbClr val="666666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87325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41338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Subject title</a:t>
            </a:r>
          </a:p>
          <a:p>
            <a:pPr marL="0" marR="0" lvl="1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0069F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Presenter name</a:t>
            </a:r>
          </a:p>
        </p:txBody>
      </p:sp>
    </p:spTree>
    <p:extLst>
      <p:ext uri="{BB962C8B-B14F-4D97-AF65-F5344CB8AC3E}">
        <p14:creationId xmlns:p14="http://schemas.microsoft.com/office/powerpoint/2010/main" val="1214163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R Closing slide">
    <p:bg>
      <p:bgPr>
        <a:solidFill>
          <a:schemeClr val="tx1">
            <a:alpha val="9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62F274B-2DDA-4CAF-8A23-FDB3D7C320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621324"/>
          </a:xfrm>
          <a:prstGeom prst="rect">
            <a:avLst/>
          </a:prstGeom>
        </p:spPr>
      </p:pic>
      <p:sp>
        <p:nvSpPr>
          <p:cNvPr id="3" name="Rectangle: Rounded Corners 2"/>
          <p:cNvSpPr/>
          <p:nvPr userDrawn="1"/>
        </p:nvSpPr>
        <p:spPr>
          <a:xfrm>
            <a:off x="3379333" y="1743776"/>
            <a:ext cx="2368732" cy="1504521"/>
          </a:xfrm>
          <a:prstGeom prst="roundRect">
            <a:avLst>
              <a:gd name="adj" fmla="val 125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4216676F-B01A-C645-A929-52F5A5522C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7574" y="1855820"/>
            <a:ext cx="2228852" cy="1309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8993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R Text 1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4BDC6EDA-61A6-1F43-A323-D04A804B3689}"/>
              </a:ext>
            </a:extLst>
          </p:cNvPr>
          <p:cNvSpPr/>
          <p:nvPr userDrawn="1"/>
        </p:nvSpPr>
        <p:spPr>
          <a:xfrm>
            <a:off x="1" y="1095375"/>
            <a:ext cx="9144000" cy="3400723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RR Pioneer" panose="020B0503050201040103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3C1DB294-815B-864B-8A09-8E4A844D3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2962" y="323965"/>
            <a:ext cx="7444196" cy="516824"/>
          </a:xfrm>
        </p:spPr>
        <p:txBody>
          <a:bodyPr anchor="ctr">
            <a:normAutofit/>
          </a:bodyPr>
          <a:lstStyle>
            <a:lvl1pPr>
              <a:defRPr sz="2400" b="0">
                <a:solidFill>
                  <a:srgbClr val="4F98FF"/>
                </a:solidFill>
              </a:defRPr>
            </a:lvl1pPr>
          </a:lstStyle>
          <a:p>
            <a:r>
              <a:rPr lang="en-US"/>
              <a:t>Option one slide</a:t>
            </a:r>
            <a:endParaRPr lang="en-GB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74C41B4F-8C53-094C-BEB7-55E8B7030C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91051" y="1462527"/>
            <a:ext cx="8143161" cy="26257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4F98FF"/>
              </a:buClr>
              <a:defRPr sz="2000">
                <a:solidFill>
                  <a:srgbClr val="10069F"/>
                </a:solidFill>
              </a:defRPr>
            </a:lvl1pPr>
            <a:lvl2pPr>
              <a:buClr>
                <a:srgbClr val="4F98FF"/>
              </a:buClr>
              <a:defRPr sz="1800">
                <a:solidFill>
                  <a:srgbClr val="10069F"/>
                </a:solidFill>
              </a:defRPr>
            </a:lvl2pPr>
            <a:lvl3pPr>
              <a:buClr>
                <a:srgbClr val="4F98FF"/>
              </a:buClr>
              <a:defRPr sz="1800">
                <a:solidFill>
                  <a:srgbClr val="10069F"/>
                </a:solidFill>
              </a:defRPr>
            </a:lvl3pPr>
            <a:lvl4pPr>
              <a:buClr>
                <a:srgbClr val="4F98FF"/>
              </a:buClr>
              <a:defRPr sz="1200">
                <a:solidFill>
                  <a:srgbClr val="10069F"/>
                </a:solidFill>
              </a:defRPr>
            </a:lvl4pPr>
            <a:lvl5pPr>
              <a:buClr>
                <a:srgbClr val="4F98FF"/>
              </a:buClr>
              <a:defRPr sz="1200">
                <a:solidFill>
                  <a:srgbClr val="10069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3FF0178-E240-9844-B661-8E4FDA444F40}"/>
              </a:ext>
            </a:extLst>
          </p:cNvPr>
          <p:cNvCxnSpPr>
            <a:cxnSpLocks/>
          </p:cNvCxnSpPr>
          <p:nvPr/>
        </p:nvCxnSpPr>
        <p:spPr>
          <a:xfrm>
            <a:off x="117177" y="4983808"/>
            <a:ext cx="85064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A picture containing logo&#10;&#10;Description automatically generated">
            <a:extLst>
              <a:ext uri="{FF2B5EF4-FFF2-40B4-BE49-F238E27FC236}">
                <a16:creationId xmlns:a16="http://schemas.microsoft.com/office/drawing/2014/main" id="{AA307F8F-4EFD-D042-9A60-E3D04AB7DF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73" y="132662"/>
            <a:ext cx="1148278" cy="674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4557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R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4681208-DD42-455B-A86B-AAB9F9B60427}"/>
              </a:ext>
            </a:extLst>
          </p:cNvPr>
          <p:cNvSpPr/>
          <p:nvPr/>
        </p:nvSpPr>
        <p:spPr>
          <a:xfrm>
            <a:off x="2274898" y="0"/>
            <a:ext cx="6869102" cy="4611353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79DFE6-CFA5-477C-AEC5-887EEF30C7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7377" y="532147"/>
            <a:ext cx="5836835" cy="695484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2400" b="0">
                <a:solidFill>
                  <a:srgbClr val="4F98FF"/>
                </a:solidFill>
                <a:latin typeface="RR Pioneer Bold" panose="020B0803050201040103" pitchFamily="34" charset="0"/>
              </a:defRPr>
            </a:lvl1pPr>
          </a:lstStyle>
          <a:p>
            <a:r>
              <a:rPr lang="en-US"/>
              <a:t>Option two slide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F8D25FF-12DE-403E-AF55-F46AC39349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5033" y="956917"/>
            <a:ext cx="1786647" cy="9556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GB" sz="1500" kern="1200" dirty="0">
                <a:solidFill>
                  <a:srgbClr val="006DFF"/>
                </a:solidFill>
                <a:latin typeface="RR Pioneer Bold" panose="020B0803050201040103" pitchFamily="34" charset="0"/>
                <a:ea typeface="+mn-ea"/>
                <a:cs typeface="Arial" panose="020B0604020202020204" pitchFamily="34" charset="0"/>
              </a:defRPr>
            </a:lvl1pPr>
            <a:lvl2pPr indent="0" algn="l" defTabSz="685800" rtl="0" eaLnBrk="1" latinLnBrk="0" hangingPunct="1">
              <a:lnSpc>
                <a:spcPct val="90000"/>
              </a:lnSpc>
              <a:buFont typeface="Arial" panose="020B0604020202020204" pitchFamily="34" charset="0"/>
              <a:buNone/>
              <a:defRPr lang="en-US" sz="15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indent="0" algn="l" defTabSz="685800" rtl="0" eaLnBrk="1" latinLnBrk="0" hangingPunct="1">
              <a:lnSpc>
                <a:spcPct val="90000"/>
              </a:lnSpc>
              <a:buFont typeface="Arial" panose="020B0604020202020204" pitchFamily="34" charset="0"/>
              <a:buNone/>
              <a:defRPr lang="en-US" sz="15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indent="0" algn="l" defTabSz="685800" rtl="0" eaLnBrk="1" latinLnBrk="0" hangingPunct="1">
              <a:lnSpc>
                <a:spcPct val="90000"/>
              </a:lnSpc>
              <a:buFont typeface="Arial" panose="020B0604020202020204" pitchFamily="34" charset="0"/>
              <a:buNone/>
              <a:defRPr lang="en-US" sz="15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indent="0" algn="l" defTabSz="685800" rtl="0" eaLnBrk="1" latinLnBrk="0" hangingPunct="1">
              <a:lnSpc>
                <a:spcPct val="90000"/>
              </a:lnSpc>
              <a:buFont typeface="Arial" panose="020B0604020202020204" pitchFamily="34" charset="0"/>
              <a:buNone/>
              <a:defRPr lang="en-GB"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en-GB"/>
              <a:t>Sidebar headings are RR Pioneer bold 15pt (Cobalt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3B9182-7B1B-4746-8146-EAC173E26B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97377" y="1462527"/>
            <a:ext cx="5836835" cy="26257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4F98FF"/>
              </a:buClr>
              <a:defRPr sz="2000">
                <a:solidFill>
                  <a:srgbClr val="10069F"/>
                </a:solidFill>
              </a:defRPr>
            </a:lvl1pPr>
            <a:lvl2pPr>
              <a:buClr>
                <a:srgbClr val="4F98FF"/>
              </a:buClr>
              <a:defRPr sz="1800">
                <a:solidFill>
                  <a:srgbClr val="10069F"/>
                </a:solidFill>
              </a:defRPr>
            </a:lvl2pPr>
            <a:lvl3pPr>
              <a:buClr>
                <a:srgbClr val="4F98FF"/>
              </a:buClr>
              <a:defRPr sz="1800">
                <a:solidFill>
                  <a:srgbClr val="10069F"/>
                </a:solidFill>
              </a:defRPr>
            </a:lvl3pPr>
            <a:lvl4pPr>
              <a:buClr>
                <a:srgbClr val="4F98FF"/>
              </a:buClr>
              <a:defRPr sz="1200">
                <a:solidFill>
                  <a:srgbClr val="10069F"/>
                </a:solidFill>
              </a:defRPr>
            </a:lvl4pPr>
            <a:lvl5pPr>
              <a:buClr>
                <a:srgbClr val="4F98FF"/>
              </a:buClr>
              <a:defRPr sz="1200">
                <a:solidFill>
                  <a:srgbClr val="10069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66289E94-30A9-AD40-97C1-9575F5C5BDD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46176" y="1797008"/>
            <a:ext cx="1785600" cy="21168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0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RR pioneer 10</a:t>
            </a:r>
          </a:p>
        </p:txBody>
      </p:sp>
      <p:pic>
        <p:nvPicPr>
          <p:cNvPr id="15" name="Picture 14" descr="A picture containing logo&#10;&#10;Description automatically generated">
            <a:extLst>
              <a:ext uri="{FF2B5EF4-FFF2-40B4-BE49-F238E27FC236}">
                <a16:creationId xmlns:a16="http://schemas.microsoft.com/office/drawing/2014/main" id="{2DF63156-1C4F-224E-B14F-CDC34A7528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73" y="132662"/>
            <a:ext cx="1148278" cy="674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907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R Closing slide">
    <p:bg>
      <p:bgPr>
        <a:solidFill>
          <a:schemeClr val="tx1">
            <a:alpha val="9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62F274B-2DDA-4CAF-8A23-FDB3D7C320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621324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3379333" y="1743776"/>
            <a:ext cx="2368732" cy="150452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4216676F-B01A-C645-A929-52F5A5522C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7574" y="1855820"/>
            <a:ext cx="2228852" cy="1309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656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R Closing slide">
    <p:bg>
      <p:bgPr>
        <a:solidFill>
          <a:schemeClr val="tx1">
            <a:alpha val="9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62F274B-2DDA-4CAF-8A23-FDB3D7C320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621324"/>
          </a:xfrm>
          <a:prstGeom prst="rect">
            <a:avLst/>
          </a:prstGeom>
        </p:spPr>
      </p:pic>
      <p:sp>
        <p:nvSpPr>
          <p:cNvPr id="3" name="Rectangle: Rounded Corners 2"/>
          <p:cNvSpPr/>
          <p:nvPr userDrawn="1"/>
        </p:nvSpPr>
        <p:spPr>
          <a:xfrm>
            <a:off x="3379333" y="1743776"/>
            <a:ext cx="2368732" cy="1504521"/>
          </a:xfrm>
          <a:prstGeom prst="roundRect">
            <a:avLst>
              <a:gd name="adj" fmla="val 125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4216676F-B01A-C645-A929-52F5A5522C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7574" y="1855820"/>
            <a:ext cx="2228852" cy="1309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2378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MR Closing slide">
    <p:bg>
      <p:bgPr>
        <a:solidFill>
          <a:schemeClr val="tx1">
            <a:alpha val="9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62F274B-2DDA-4CAF-8A23-FDB3D7C320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4621324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3465095" y="1804736"/>
            <a:ext cx="2177716" cy="147988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8E9D873-4BA4-41C9-9902-242FF5874C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1878" y="1933575"/>
            <a:ext cx="1889760" cy="1181100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E9CC2AEA-6225-415A-9FCC-070796CB8FB3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>
          <a:xfrm>
            <a:off x="347219" y="4692750"/>
            <a:ext cx="1623600" cy="288000"/>
          </a:xfrm>
          <a:prstGeom prst="rect">
            <a:avLst/>
          </a:prstGeom>
        </p:spPr>
        <p:txBody>
          <a:bodyPr/>
          <a:lstStyle>
            <a:lvl1pPr>
              <a:defRPr sz="600">
                <a:solidFill>
                  <a:schemeClr val="bg1"/>
                </a:solidFill>
              </a:defRPr>
            </a:lvl1pPr>
          </a:lstStyle>
          <a:p>
            <a:r>
              <a:rPr lang="en-GB"/>
              <a:t>© 2021 Rolls-Royce SMR | Not Subject to Export Control </a:t>
            </a:r>
          </a:p>
        </p:txBody>
      </p:sp>
    </p:spTree>
    <p:extLst>
      <p:ext uri="{BB962C8B-B14F-4D97-AF65-F5344CB8AC3E}">
        <p14:creationId xmlns:p14="http://schemas.microsoft.com/office/powerpoint/2010/main" val="3884978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997182"/>
            <a:ext cx="1785600" cy="871200"/>
          </a:xfrm>
        </p:spPr>
        <p:txBody>
          <a:bodyPr/>
          <a:lstStyle>
            <a:lvl1pPr>
              <a:defRPr>
                <a:solidFill>
                  <a:srgbClr val="006D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50702" y="4730400"/>
            <a:ext cx="569298" cy="273844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694FCE9F-7CC8-461C-A35B-9B9A4F49161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24000" y="1933200"/>
            <a:ext cx="1785600" cy="21168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defRPr sz="10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F581FFB4-AF4C-4EED-9507-FBA0873543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73" y="132662"/>
            <a:ext cx="1148278" cy="67486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462575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o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E28B0C4-8B96-4907-AAD9-1622E0A5F7A0}"/>
              </a:ext>
            </a:extLst>
          </p:cNvPr>
          <p:cNvSpPr/>
          <p:nvPr userDrawn="1"/>
        </p:nvSpPr>
        <p:spPr>
          <a:xfrm>
            <a:off x="1" y="1095375"/>
            <a:ext cx="9144000" cy="4048125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RR Pioneer" panose="020B05030502010401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5900" y="236413"/>
            <a:ext cx="7334250" cy="516824"/>
          </a:xfrm>
        </p:spPr>
        <p:txBody>
          <a:bodyPr anchor="ctr"/>
          <a:lstStyle>
            <a:lvl1pPr>
              <a:defRPr>
                <a:solidFill>
                  <a:srgbClr val="006D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-381000" y="14312"/>
            <a:ext cx="252000" cy="252000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-381000" y="368520"/>
            <a:ext cx="252000" cy="252000"/>
          </a:xfrm>
          <a:prstGeom prst="rect">
            <a:avLst/>
          </a:prstGeom>
          <a:solidFill>
            <a:srgbClr val="006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/>
          <p:cNvSpPr/>
          <p:nvPr userDrawn="1"/>
        </p:nvSpPr>
        <p:spPr>
          <a:xfrm>
            <a:off x="-381000" y="722728"/>
            <a:ext cx="252000" cy="252000"/>
          </a:xfrm>
          <a:prstGeom prst="rect">
            <a:avLst/>
          </a:prstGeom>
          <a:solidFill>
            <a:srgbClr val="00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/>
          <p:cNvSpPr/>
          <p:nvPr userDrawn="1"/>
        </p:nvSpPr>
        <p:spPr>
          <a:xfrm>
            <a:off x="-381000" y="1076936"/>
            <a:ext cx="252000" cy="252000"/>
          </a:xfrm>
          <a:prstGeom prst="rect">
            <a:avLst/>
          </a:prstGeom>
          <a:solidFill>
            <a:srgbClr val="819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/>
          <p:cNvSpPr/>
          <p:nvPr userDrawn="1"/>
        </p:nvSpPr>
        <p:spPr>
          <a:xfrm>
            <a:off x="-381000" y="1431144"/>
            <a:ext cx="252000" cy="252000"/>
          </a:xfrm>
          <a:prstGeom prst="rect">
            <a:avLst/>
          </a:prstGeom>
          <a:solidFill>
            <a:srgbClr val="DB3F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/>
          <p:cNvSpPr/>
          <p:nvPr userDrawn="1"/>
        </p:nvSpPr>
        <p:spPr>
          <a:xfrm>
            <a:off x="-381000" y="1785352"/>
            <a:ext cx="252000" cy="252000"/>
          </a:xfrm>
          <a:prstGeom prst="rect">
            <a:avLst/>
          </a:prstGeom>
          <a:solidFill>
            <a:srgbClr val="E21D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Rectangle 20"/>
          <p:cNvSpPr/>
          <p:nvPr userDrawn="1"/>
        </p:nvSpPr>
        <p:spPr>
          <a:xfrm>
            <a:off x="-381000" y="2139560"/>
            <a:ext cx="252000" cy="252000"/>
          </a:xfrm>
          <a:prstGeom prst="rect">
            <a:avLst/>
          </a:prstGeom>
          <a:solidFill>
            <a:srgbClr val="8C2A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Picture 14" descr="A picture containing logo&#10;&#10;Description automatically generated">
            <a:extLst>
              <a:ext uri="{FF2B5EF4-FFF2-40B4-BE49-F238E27FC236}">
                <a16:creationId xmlns:a16="http://schemas.microsoft.com/office/drawing/2014/main" id="{C790F4B1-69CA-46A6-AD58-D22B4C86DC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73" y="132662"/>
            <a:ext cx="1148278" cy="67486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F621C38-886F-4685-A53D-CF84086844E6}"/>
              </a:ext>
            </a:extLst>
          </p:cNvPr>
          <p:cNvSpPr txBox="1"/>
          <p:nvPr userDrawn="1"/>
        </p:nvSpPr>
        <p:spPr>
          <a:xfrm>
            <a:off x="36000" y="4716000"/>
            <a:ext cx="396000" cy="2154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fld id="{08E80C4F-F991-49D9-9709-D9215F6A9D89}" type="slidenum">
              <a:rPr lang="en-GB" sz="800" smtClean="0">
                <a:solidFill>
                  <a:srgbClr val="10069F"/>
                </a:solidFill>
                <a:latin typeface="RR Pioneer Bold" panose="020B0803050201040103" pitchFamily="34" charset="0"/>
              </a:rPr>
              <a:pPr algn="ctr"/>
              <a:t>‹#›</a:t>
            </a:fld>
            <a:endParaRPr lang="en-GB" sz="800">
              <a:solidFill>
                <a:srgbClr val="10069F"/>
              </a:solidFill>
              <a:latin typeface="RR Pioneer Bold" panose="020B08030502010401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3334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EAB9CFF-EDF9-4D34-B6C0-8975CA5526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3620" y="0"/>
            <a:ext cx="6850380" cy="4637334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AEB490C-9F77-4B2B-895C-83B4F1D1AE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0547" y="1526105"/>
            <a:ext cx="5319077" cy="5185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tx1"/>
                </a:solidFill>
                <a:latin typeface="RR Pioneer Bold" panose="020B0803050201040103" pitchFamily="34" charset="0"/>
              </a:defRPr>
            </a:lvl1pPr>
          </a:lstStyle>
          <a:p>
            <a:pPr lvl="0"/>
            <a:r>
              <a:rPr lang="en-US"/>
              <a:t>Standard presentation</a:t>
            </a:r>
            <a:endParaRPr lang="en-GB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E3CE3681-E8B1-4106-9D5C-28AD774CA3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0547" y="2003435"/>
            <a:ext cx="5319077" cy="3333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RR Pioneer" panose="020B05030502010401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sub-title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9A983F41-D3FD-4E15-BD9F-EAE3A8037E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70547" y="2563670"/>
            <a:ext cx="5319077" cy="2504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>
                <a:solidFill>
                  <a:schemeClr val="tx1"/>
                </a:solidFill>
                <a:latin typeface="RR Pioneer" panose="020B0503050201040103" pitchFamily="34" charset="0"/>
              </a:defRPr>
            </a:lvl1pPr>
          </a:lstStyle>
          <a:p>
            <a:pPr lvl="0"/>
            <a:r>
              <a:rPr lang="en-US"/>
              <a:t>Author Name, Job Title</a:t>
            </a:r>
            <a:endParaRPr lang="en-GB"/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F6D4537E-02BA-4044-A3E6-F6F14EA712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70547" y="2782737"/>
            <a:ext cx="5319077" cy="3495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tx1"/>
                </a:solidFill>
                <a:latin typeface="RR Pioneer" panose="020B0503050201040103" pitchFamily="34" charset="0"/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pic>
        <p:nvPicPr>
          <p:cNvPr id="11" name="Picture 10" descr="A picture containing logo&#10;&#10;Description automatically generated">
            <a:extLst>
              <a:ext uri="{FF2B5EF4-FFF2-40B4-BE49-F238E27FC236}">
                <a16:creationId xmlns:a16="http://schemas.microsoft.com/office/drawing/2014/main" id="{B75F63C8-6E64-D246-87CD-AFBE307522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170" y="1610558"/>
            <a:ext cx="1950402" cy="1146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673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9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9B4B42-DD00-5044-84D5-F9B6001424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87752" y="1370013"/>
            <a:ext cx="5927598" cy="31471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648077B2-7371-1C4C-9D56-A07D6261B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7752" y="274638"/>
            <a:ext cx="5927598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838262-4B9C-7943-84BF-C087279D6E9C}"/>
              </a:ext>
            </a:extLst>
          </p:cNvPr>
          <p:cNvSpPr txBox="1"/>
          <p:nvPr/>
        </p:nvSpPr>
        <p:spPr>
          <a:xfrm>
            <a:off x="-27068" y="4779551"/>
            <a:ext cx="34723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08E80C4F-F991-49D9-9709-D9215F6A9D89}" type="slidenum">
              <a:rPr lang="en-GB" sz="800" smtClean="0">
                <a:solidFill>
                  <a:srgbClr val="10069F"/>
                </a:solidFill>
                <a:latin typeface="RR Pioneer Bold" panose="020B0803050201040103" pitchFamily="34" charset="0"/>
              </a:rPr>
              <a:pPr algn="r"/>
              <a:t>‹#›</a:t>
            </a:fld>
            <a:endParaRPr lang="en-GB" sz="800" dirty="0">
              <a:solidFill>
                <a:srgbClr val="10069F"/>
              </a:solidFill>
              <a:latin typeface="RR Pioneer Bold" panose="020B0803050201040103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B2A0B38-14D5-9041-8DFE-6CC2C514994D}"/>
              </a:ext>
            </a:extLst>
          </p:cNvPr>
          <p:cNvGrpSpPr/>
          <p:nvPr userDrawn="1"/>
        </p:nvGrpSpPr>
        <p:grpSpPr>
          <a:xfrm>
            <a:off x="117177" y="4733300"/>
            <a:ext cx="8959483" cy="288086"/>
            <a:chOff x="1501843" y="3958225"/>
            <a:chExt cx="8959483" cy="288086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442E87B-0DD1-E344-B3D9-9899C0B48FE5}"/>
                </a:ext>
              </a:extLst>
            </p:cNvPr>
            <p:cNvPicPr/>
            <p:nvPr userDrawn="1"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5038" t="8900"/>
            <a:stretch/>
          </p:blipFill>
          <p:spPr>
            <a:xfrm>
              <a:off x="9006214" y="3958225"/>
              <a:ext cx="1455112" cy="288086"/>
            </a:xfrm>
            <a:prstGeom prst="rect">
              <a:avLst/>
            </a:prstGeom>
            <a:solidFill>
              <a:srgbClr val="10069F"/>
            </a:solidFill>
          </p:spPr>
        </p:pic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D4BC82B-DDF8-5143-A958-AF01F6665B90}"/>
                </a:ext>
              </a:extLst>
            </p:cNvPr>
            <p:cNvCxnSpPr>
              <a:cxnSpLocks/>
            </p:cNvCxnSpPr>
            <p:nvPr/>
          </p:nvCxnSpPr>
          <p:spPr>
            <a:xfrm>
              <a:off x="1501843" y="4208733"/>
              <a:ext cx="850645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ADF3146E-7A35-44BC-8AD0-0FAD73B04DFA}"/>
              </a:ext>
            </a:extLst>
          </p:cNvPr>
          <p:cNvSpPr/>
          <p:nvPr userDrawn="1"/>
        </p:nvSpPr>
        <p:spPr>
          <a:xfrm>
            <a:off x="217432" y="4798449"/>
            <a:ext cx="8506452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SPP-22 Issue 1 | Rolls-Royce SMR Data – Public | © 2022 Rolls-Royce SMR Ltd | Not subject to Export Control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C433E2-DEDA-40B5-A2A5-210285AE224D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3248787" y="4991100"/>
            <a:ext cx="267493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 – Not Listed – Not Subject to Export Controls</a:t>
            </a:r>
          </a:p>
        </p:txBody>
      </p:sp>
    </p:spTree>
    <p:extLst>
      <p:ext uri="{BB962C8B-B14F-4D97-AF65-F5344CB8AC3E}">
        <p14:creationId xmlns:p14="http://schemas.microsoft.com/office/powerpoint/2010/main" val="171059365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98" r:id="rId1"/>
    <p:sldLayoutId id="2147484011" r:id="rId2"/>
    <p:sldLayoutId id="2147484014" r:id="rId3"/>
    <p:sldLayoutId id="2147484026" r:id="rId4"/>
    <p:sldLayoutId id="2147484550" r:id="rId5"/>
    <p:sldLayoutId id="2147484083" r:id="rId6"/>
    <p:sldLayoutId id="2147484587" r:id="rId7"/>
    <p:sldLayoutId id="2147484588" r:id="rId8"/>
  </p:sldLayoutIdLst>
  <p:hf sldNum="0" hdr="0" dt="0"/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Font typeface="+mj-lt"/>
        <a:buNone/>
        <a:defRPr sz="1800" kern="1200">
          <a:solidFill>
            <a:srgbClr val="004777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004777"/>
        </a:buClr>
        <a:buFont typeface="Wingdings" pitchFamily="2" charset="2"/>
        <a:buChar char="§"/>
        <a:defRPr sz="1500" kern="1200">
          <a:solidFill>
            <a:schemeClr val="bg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4777"/>
        </a:buClr>
        <a:buFont typeface="Wingdings" pitchFamily="2" charset="2"/>
        <a:buChar char="§"/>
        <a:defRPr sz="1200" kern="1200">
          <a:solidFill>
            <a:schemeClr val="bg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4777"/>
        </a:buClr>
        <a:buFont typeface="Wingdings" pitchFamily="2" charset="2"/>
        <a:buChar char="§"/>
        <a:defRPr sz="1200" kern="1200">
          <a:solidFill>
            <a:schemeClr val="bg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4777"/>
        </a:buClr>
        <a:buFont typeface="Wingdings" pitchFamily="2" charset="2"/>
        <a:buChar char="§"/>
        <a:defRPr sz="1000" kern="1200">
          <a:solidFill>
            <a:schemeClr val="bg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4777"/>
        </a:buClr>
        <a:buFont typeface="Wingdings" pitchFamily="2" charset="2"/>
        <a:buChar char="§"/>
        <a:defRPr sz="100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04" userDrawn="1">
          <p15:clr>
            <a:srgbClr val="F26B43"/>
          </p15:clr>
        </p15:guide>
        <p15:guide id="2" pos="774" userDrawn="1">
          <p15:clr>
            <a:srgbClr val="F26B43"/>
          </p15:clr>
        </p15:guide>
        <p15:guide id="3" pos="848" userDrawn="1">
          <p15:clr>
            <a:srgbClr val="F26B43"/>
          </p15:clr>
        </p15:guide>
        <p15:guide id="4" pos="1429" userDrawn="1">
          <p15:clr>
            <a:srgbClr val="F26B43"/>
          </p15:clr>
        </p15:guide>
        <p15:guide id="5" pos="1499" userDrawn="1">
          <p15:clr>
            <a:srgbClr val="F26B43"/>
          </p15:clr>
        </p15:guide>
        <p15:guide id="6" pos="2081" userDrawn="1">
          <p15:clr>
            <a:srgbClr val="F26B43"/>
          </p15:clr>
        </p15:guide>
        <p15:guide id="7" pos="2152" userDrawn="1">
          <p15:clr>
            <a:srgbClr val="F26B43"/>
          </p15:clr>
        </p15:guide>
        <p15:guide id="8" pos="2728" userDrawn="1">
          <p15:clr>
            <a:srgbClr val="F26B43"/>
          </p15:clr>
        </p15:guide>
        <p15:guide id="9" pos="2806" userDrawn="1">
          <p15:clr>
            <a:srgbClr val="F26B43"/>
          </p15:clr>
        </p15:guide>
        <p15:guide id="10" pos="3380" userDrawn="1">
          <p15:clr>
            <a:srgbClr val="F26B43"/>
          </p15:clr>
        </p15:guide>
        <p15:guide id="11" pos="3453" userDrawn="1">
          <p15:clr>
            <a:srgbClr val="F26B43"/>
          </p15:clr>
        </p15:guide>
        <p15:guide id="12" pos="4037" userDrawn="1">
          <p15:clr>
            <a:srgbClr val="F26B43"/>
          </p15:clr>
        </p15:guide>
        <p15:guide id="13" pos="4106" userDrawn="1">
          <p15:clr>
            <a:srgbClr val="F26B43"/>
          </p15:clr>
        </p15:guide>
        <p15:guide id="14" pos="4689" userDrawn="1">
          <p15:clr>
            <a:srgbClr val="F26B43"/>
          </p15:clr>
        </p15:guide>
        <p15:guide id="15" pos="4757" userDrawn="1">
          <p15:clr>
            <a:srgbClr val="F26B43"/>
          </p15:clr>
        </p15:guide>
        <p15:guide id="16" pos="5331" userDrawn="1">
          <p15:clr>
            <a:srgbClr val="F26B43"/>
          </p15:clr>
        </p15:guide>
        <p15:guide id="17" pos="5410" userDrawn="1">
          <p15:clr>
            <a:srgbClr val="F26B43"/>
          </p15:clr>
        </p15:guide>
        <p15:guide id="18" orient="horz" pos="146" userDrawn="1">
          <p15:clr>
            <a:srgbClr val="F26B43"/>
          </p15:clr>
        </p15:guide>
        <p15:guide id="19" orient="horz" pos="3003" userDrawn="1">
          <p15:clr>
            <a:srgbClr val="F26B43"/>
          </p15:clr>
        </p15:guide>
        <p15:guide id="20" orient="horz" pos="2550" userDrawn="1">
          <p15:clr>
            <a:srgbClr val="F26B43"/>
          </p15:clr>
        </p15:guide>
        <p15:guide id="21" orient="horz" pos="2051" userDrawn="1">
          <p15:clr>
            <a:srgbClr val="F26B43"/>
          </p15:clr>
        </p15:guide>
        <p15:guide id="22" orient="horz" pos="1590" userDrawn="1">
          <p15:clr>
            <a:srgbClr val="F26B43"/>
          </p15:clr>
        </p15:guide>
        <p15:guide id="23" orient="horz" pos="1098" userDrawn="1">
          <p15:clr>
            <a:srgbClr val="F26B43"/>
          </p15:clr>
        </p15:guide>
        <p15:guide id="24" orient="horz" pos="622" userDrawn="1">
          <p15:clr>
            <a:srgbClr val="F26B43"/>
          </p15:clr>
        </p15:guide>
        <p15:guide id="25" orient="horz" pos="2958" userDrawn="1">
          <p15:clr>
            <a:srgbClr val="F26B43"/>
          </p15:clr>
        </p15:guide>
        <p15:guide id="26" orient="horz" pos="311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9B4B42-DD00-5044-84D5-F9B6001424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87752" y="1370013"/>
            <a:ext cx="5927598" cy="31471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648077B2-7371-1C4C-9D56-A07D6261B3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7752" y="274638"/>
            <a:ext cx="5927598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6838262-4B9C-7943-84BF-C087279D6E9C}"/>
              </a:ext>
            </a:extLst>
          </p:cNvPr>
          <p:cNvSpPr txBox="1"/>
          <p:nvPr userDrawn="1"/>
        </p:nvSpPr>
        <p:spPr>
          <a:xfrm>
            <a:off x="36000" y="4716000"/>
            <a:ext cx="396000" cy="2154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fld id="{08E80C4F-F991-49D9-9709-D9215F6A9D89}" type="slidenum">
              <a:rPr lang="en-GB" sz="800" smtClean="0">
                <a:solidFill>
                  <a:srgbClr val="10069F"/>
                </a:solidFill>
                <a:latin typeface="RR Pioneer Bold" panose="020B0803050201040103" pitchFamily="34" charset="0"/>
              </a:rPr>
              <a:pPr algn="ctr"/>
              <a:t>‹#›</a:t>
            </a:fld>
            <a:endParaRPr lang="en-GB" sz="800">
              <a:solidFill>
                <a:srgbClr val="10069F"/>
              </a:solidFill>
              <a:latin typeface="RR Pioneer Bold" panose="020B0803050201040103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B2A0B38-14D5-9041-8DFE-6CC2C514994D}"/>
              </a:ext>
            </a:extLst>
          </p:cNvPr>
          <p:cNvGrpSpPr/>
          <p:nvPr userDrawn="1"/>
        </p:nvGrpSpPr>
        <p:grpSpPr>
          <a:xfrm>
            <a:off x="117177" y="4733300"/>
            <a:ext cx="8959483" cy="288086"/>
            <a:chOff x="1501843" y="3958225"/>
            <a:chExt cx="8959483" cy="288086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442E87B-0DD1-E344-B3D9-9899C0B48FE5}"/>
                </a:ext>
              </a:extLst>
            </p:cNvPr>
            <p:cNvPicPr/>
            <p:nvPr userDrawn="1"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006214" y="3958225"/>
              <a:ext cx="1455112" cy="288086"/>
            </a:xfrm>
            <a:prstGeom prst="rect">
              <a:avLst/>
            </a:prstGeom>
            <a:solidFill>
              <a:srgbClr val="10069F"/>
            </a:solidFill>
          </p:spPr>
        </p:pic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D4BC82B-DDF8-5143-A958-AF01F6665B90}"/>
                </a:ext>
              </a:extLst>
            </p:cNvPr>
            <p:cNvCxnSpPr>
              <a:cxnSpLocks/>
            </p:cNvCxnSpPr>
            <p:nvPr/>
          </p:nvCxnSpPr>
          <p:spPr>
            <a:xfrm>
              <a:off x="1501843" y="4208733"/>
              <a:ext cx="850645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6B764050-7111-45D1-A547-4B28C146AA82}"/>
              </a:ext>
            </a:extLst>
          </p:cNvPr>
          <p:cNvSpPr txBox="1"/>
          <p:nvPr userDrawn="1"/>
        </p:nvSpPr>
        <p:spPr>
          <a:xfrm>
            <a:off x="321200" y="4698169"/>
            <a:ext cx="18123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Non-confidential © 2022 Rolls-Royce SMR Ltd | Not Subject to Export Contro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BE2A2A-3B9A-F924-AAA8-0D88E11EACF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3248787" y="4991100"/>
            <a:ext cx="267493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 – Not Listed – Not Subject to Export Controls</a:t>
            </a:r>
          </a:p>
        </p:txBody>
      </p:sp>
    </p:spTree>
    <p:extLst>
      <p:ext uri="{BB962C8B-B14F-4D97-AF65-F5344CB8AC3E}">
        <p14:creationId xmlns:p14="http://schemas.microsoft.com/office/powerpoint/2010/main" val="84119674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576" r:id="rId1"/>
    <p:sldLayoutId id="2147484577" r:id="rId2"/>
    <p:sldLayoutId id="2147484580" r:id="rId3"/>
    <p:sldLayoutId id="2147484585" r:id="rId4"/>
  </p:sldLayoutIdLst>
  <p:hf sldNum="0" hdr="0" ftr="0" dt="0"/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Font typeface="+mj-lt"/>
        <a:buNone/>
        <a:defRPr sz="1800" kern="1200">
          <a:solidFill>
            <a:srgbClr val="004777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004777"/>
        </a:buClr>
        <a:buFont typeface="Wingdings" pitchFamily="2" charset="2"/>
        <a:buChar char="§"/>
        <a:defRPr sz="1500" kern="1200">
          <a:solidFill>
            <a:schemeClr val="bg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4777"/>
        </a:buClr>
        <a:buFont typeface="Wingdings" pitchFamily="2" charset="2"/>
        <a:buChar char="§"/>
        <a:defRPr sz="1200" kern="1200">
          <a:solidFill>
            <a:schemeClr val="bg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4777"/>
        </a:buClr>
        <a:buFont typeface="Wingdings" pitchFamily="2" charset="2"/>
        <a:buChar char="§"/>
        <a:defRPr sz="1200" kern="1200">
          <a:solidFill>
            <a:schemeClr val="bg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4777"/>
        </a:buClr>
        <a:buFont typeface="Wingdings" pitchFamily="2" charset="2"/>
        <a:buChar char="§"/>
        <a:defRPr sz="1000" kern="1200">
          <a:solidFill>
            <a:schemeClr val="bg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4777"/>
        </a:buClr>
        <a:buFont typeface="Wingdings" pitchFamily="2" charset="2"/>
        <a:buChar char="§"/>
        <a:defRPr sz="100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04">
          <p15:clr>
            <a:srgbClr val="F26B43"/>
          </p15:clr>
        </p15:guide>
        <p15:guide id="2" pos="774">
          <p15:clr>
            <a:srgbClr val="F26B43"/>
          </p15:clr>
        </p15:guide>
        <p15:guide id="3" pos="848">
          <p15:clr>
            <a:srgbClr val="F26B43"/>
          </p15:clr>
        </p15:guide>
        <p15:guide id="4" pos="1429">
          <p15:clr>
            <a:srgbClr val="F26B43"/>
          </p15:clr>
        </p15:guide>
        <p15:guide id="5" pos="1499">
          <p15:clr>
            <a:srgbClr val="F26B43"/>
          </p15:clr>
        </p15:guide>
        <p15:guide id="6" pos="2081">
          <p15:clr>
            <a:srgbClr val="F26B43"/>
          </p15:clr>
        </p15:guide>
        <p15:guide id="7" pos="2152">
          <p15:clr>
            <a:srgbClr val="F26B43"/>
          </p15:clr>
        </p15:guide>
        <p15:guide id="8" pos="2728">
          <p15:clr>
            <a:srgbClr val="F26B43"/>
          </p15:clr>
        </p15:guide>
        <p15:guide id="9" pos="2806">
          <p15:clr>
            <a:srgbClr val="F26B43"/>
          </p15:clr>
        </p15:guide>
        <p15:guide id="10" pos="3380">
          <p15:clr>
            <a:srgbClr val="F26B43"/>
          </p15:clr>
        </p15:guide>
        <p15:guide id="11" pos="3453">
          <p15:clr>
            <a:srgbClr val="F26B43"/>
          </p15:clr>
        </p15:guide>
        <p15:guide id="12" pos="4037">
          <p15:clr>
            <a:srgbClr val="F26B43"/>
          </p15:clr>
        </p15:guide>
        <p15:guide id="13" pos="4106">
          <p15:clr>
            <a:srgbClr val="F26B43"/>
          </p15:clr>
        </p15:guide>
        <p15:guide id="14" pos="4689">
          <p15:clr>
            <a:srgbClr val="F26B43"/>
          </p15:clr>
        </p15:guide>
        <p15:guide id="15" pos="4757">
          <p15:clr>
            <a:srgbClr val="F26B43"/>
          </p15:clr>
        </p15:guide>
        <p15:guide id="16" pos="5331">
          <p15:clr>
            <a:srgbClr val="F26B43"/>
          </p15:clr>
        </p15:guide>
        <p15:guide id="17" pos="5410">
          <p15:clr>
            <a:srgbClr val="F26B43"/>
          </p15:clr>
        </p15:guide>
        <p15:guide id="18" orient="horz" pos="146">
          <p15:clr>
            <a:srgbClr val="F26B43"/>
          </p15:clr>
        </p15:guide>
        <p15:guide id="19" orient="horz" pos="3003">
          <p15:clr>
            <a:srgbClr val="F26B43"/>
          </p15:clr>
        </p15:guide>
        <p15:guide id="20" orient="horz" pos="2550">
          <p15:clr>
            <a:srgbClr val="F26B43"/>
          </p15:clr>
        </p15:guide>
        <p15:guide id="21" orient="horz" pos="2051">
          <p15:clr>
            <a:srgbClr val="F26B43"/>
          </p15:clr>
        </p15:guide>
        <p15:guide id="22" orient="horz" pos="1590">
          <p15:clr>
            <a:srgbClr val="F26B43"/>
          </p15:clr>
        </p15:guide>
        <p15:guide id="23" orient="horz" pos="1098">
          <p15:clr>
            <a:srgbClr val="F26B43"/>
          </p15:clr>
        </p15:guide>
        <p15:guide id="24" orient="horz" pos="622">
          <p15:clr>
            <a:srgbClr val="F26B43"/>
          </p15:clr>
        </p15:guide>
        <p15:guide id="25" orient="horz" pos="2958">
          <p15:clr>
            <a:srgbClr val="F26B43"/>
          </p15:clr>
        </p15:guide>
        <p15:guide id="26" orient="horz" pos="3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13" Type="http://schemas.openxmlformats.org/officeDocument/2006/relationships/image" Target="../media/image51.jpeg"/><Relationship Id="rId3" Type="http://schemas.openxmlformats.org/officeDocument/2006/relationships/image" Target="../media/image41.png"/><Relationship Id="rId7" Type="http://schemas.openxmlformats.org/officeDocument/2006/relationships/image" Target="../media/image45.jpeg"/><Relationship Id="rId12" Type="http://schemas.openxmlformats.org/officeDocument/2006/relationships/image" Target="../media/image5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eg"/><Relationship Id="rId11" Type="http://schemas.openxmlformats.org/officeDocument/2006/relationships/image" Target="../media/image49.jpeg"/><Relationship Id="rId5" Type="http://schemas.openxmlformats.org/officeDocument/2006/relationships/image" Target="../media/image43.png"/><Relationship Id="rId10" Type="http://schemas.openxmlformats.org/officeDocument/2006/relationships/image" Target="../media/image48.jpeg"/><Relationship Id="rId4" Type="http://schemas.openxmlformats.org/officeDocument/2006/relationships/image" Target="../media/image42.jpeg"/><Relationship Id="rId9" Type="http://schemas.openxmlformats.org/officeDocument/2006/relationships/image" Target="../media/image47.jpeg"/><Relationship Id="rId14" Type="http://schemas.openxmlformats.org/officeDocument/2006/relationships/image" Target="../media/image52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image" Target="../media/image53.png"/><Relationship Id="rId7" Type="http://schemas.openxmlformats.org/officeDocument/2006/relationships/diagramData" Target="../diagrams/data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6.png"/><Relationship Id="rId11" Type="http://schemas.microsoft.com/office/2007/relationships/diagramDrawing" Target="../diagrams/drawing1.xml"/><Relationship Id="rId5" Type="http://schemas.openxmlformats.org/officeDocument/2006/relationships/image" Target="../media/image55.png"/><Relationship Id="rId10" Type="http://schemas.openxmlformats.org/officeDocument/2006/relationships/diagramColors" Target="../diagrams/colors1.xml"/><Relationship Id="rId4" Type="http://schemas.openxmlformats.org/officeDocument/2006/relationships/image" Target="../media/image54.png"/><Relationship Id="rId9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62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61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20.emf"/><Relationship Id="rId5" Type="http://schemas.openxmlformats.org/officeDocument/2006/relationships/tags" Target="../tags/tag10.xml"/><Relationship Id="rId15" Type="http://schemas.openxmlformats.org/officeDocument/2006/relationships/image" Target="../media/image64.png"/><Relationship Id="rId10" Type="http://schemas.openxmlformats.org/officeDocument/2006/relationships/oleObject" Target="../embeddings/oleObject4.bin"/><Relationship Id="rId4" Type="http://schemas.openxmlformats.org/officeDocument/2006/relationships/tags" Target="../tags/tag9.xml"/><Relationship Id="rId9" Type="http://schemas.openxmlformats.org/officeDocument/2006/relationships/notesSlide" Target="../notesSlides/notesSlide14.xml"/><Relationship Id="rId14" Type="http://schemas.openxmlformats.org/officeDocument/2006/relationships/image" Target="../media/image6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66.jpeg"/><Relationship Id="rId7" Type="http://schemas.openxmlformats.org/officeDocument/2006/relationships/image" Target="../media/image70.jpe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9.png"/><Relationship Id="rId5" Type="http://schemas.openxmlformats.org/officeDocument/2006/relationships/image" Target="../media/image68.jpeg"/><Relationship Id="rId4" Type="http://schemas.openxmlformats.org/officeDocument/2006/relationships/image" Target="../media/image6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13" Type="http://schemas.openxmlformats.org/officeDocument/2006/relationships/image" Target="../media/image83.png"/><Relationship Id="rId3" Type="http://schemas.openxmlformats.org/officeDocument/2006/relationships/image" Target="../media/image73.jpeg"/><Relationship Id="rId7" Type="http://schemas.openxmlformats.org/officeDocument/2006/relationships/image" Target="../media/image77.png"/><Relationship Id="rId12" Type="http://schemas.openxmlformats.org/officeDocument/2006/relationships/image" Target="../media/image82.jpe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11" Type="http://schemas.openxmlformats.org/officeDocument/2006/relationships/image" Target="../media/image81.jpeg"/><Relationship Id="rId5" Type="http://schemas.openxmlformats.org/officeDocument/2006/relationships/image" Target="../media/image75.png"/><Relationship Id="rId10" Type="http://schemas.openxmlformats.org/officeDocument/2006/relationships/image" Target="../media/image80.jpeg"/><Relationship Id="rId4" Type="http://schemas.openxmlformats.org/officeDocument/2006/relationships/image" Target="../media/image74.jpeg"/><Relationship Id="rId9" Type="http://schemas.openxmlformats.org/officeDocument/2006/relationships/image" Target="../media/image7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svg"/><Relationship Id="rId13" Type="http://schemas.openxmlformats.org/officeDocument/2006/relationships/image" Target="../media/image91.tiff"/><Relationship Id="rId18" Type="http://schemas.openxmlformats.org/officeDocument/2006/relationships/image" Target="../media/image96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85.png"/><Relationship Id="rId12" Type="http://schemas.openxmlformats.org/officeDocument/2006/relationships/image" Target="../media/image90.svg"/><Relationship Id="rId17" Type="http://schemas.openxmlformats.org/officeDocument/2006/relationships/image" Target="../media/image95.sv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94.png"/><Relationship Id="rId1" Type="http://schemas.openxmlformats.org/officeDocument/2006/relationships/tags" Target="../tags/tag13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5" Type="http://schemas.openxmlformats.org/officeDocument/2006/relationships/image" Target="../media/image20.emf"/><Relationship Id="rId15" Type="http://schemas.openxmlformats.org/officeDocument/2006/relationships/image" Target="../media/image93.png"/><Relationship Id="rId10" Type="http://schemas.openxmlformats.org/officeDocument/2006/relationships/image" Target="../media/image88.svg"/><Relationship Id="rId19" Type="http://schemas.openxmlformats.org/officeDocument/2006/relationships/image" Target="../media/image97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87.png"/><Relationship Id="rId14" Type="http://schemas.openxmlformats.org/officeDocument/2006/relationships/image" Target="../media/image92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9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chart" Target="../charts/chart1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pn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emf"/><Relationship Id="rId10" Type="http://schemas.openxmlformats.org/officeDocument/2006/relationships/image" Target="../media/image25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openxmlformats.org/officeDocument/2006/relationships/image" Target="../media/image28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33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3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1DF5187-AC36-9E43-8734-77378D3F357A}"/>
              </a:ext>
            </a:extLst>
          </p:cNvPr>
          <p:cNvSpPr txBox="1">
            <a:spLocks/>
          </p:cNvSpPr>
          <p:nvPr/>
        </p:nvSpPr>
        <p:spPr>
          <a:xfrm>
            <a:off x="2746566" y="1632590"/>
            <a:ext cx="6084887" cy="42480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Font typeface="+mj-lt"/>
              <a:buNone/>
              <a:defRPr sz="1800" kern="1200">
                <a:solidFill>
                  <a:srgbClr val="004777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sz="3600" dirty="0">
                <a:solidFill>
                  <a:schemeClr val="tx1"/>
                </a:solidFill>
              </a:rPr>
              <a:t>Rolls-Royce SMR</a:t>
            </a:r>
          </a:p>
          <a:p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j-ea"/>
                <a:cs typeface="+mj-cs"/>
              </a:rPr>
              <a:t>Clean, Affordable Energy for all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356072F0-8159-7773-9DB4-EF02BDA53184}"/>
              </a:ext>
            </a:extLst>
          </p:cNvPr>
          <p:cNvSpPr txBox="1">
            <a:spLocks/>
          </p:cNvSpPr>
          <p:nvPr/>
        </p:nvSpPr>
        <p:spPr>
          <a:xfrm>
            <a:off x="2746566" y="2683307"/>
            <a:ext cx="6088594" cy="2625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004777"/>
              </a:buClr>
              <a:buFont typeface="Wingdings" pitchFamily="2" charset="2"/>
              <a:buNone/>
              <a:defRPr sz="2400" kern="1200">
                <a:solidFill>
                  <a:schemeClr val="tx1"/>
                </a:solidFill>
                <a:latin typeface="RR Pioneer" panose="020B0503050201040103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4777"/>
              </a:buClr>
              <a:buFont typeface="Wingdings" pitchFamily="2" charset="2"/>
              <a:buChar char="§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4777"/>
              </a:buClr>
              <a:buFont typeface="Wingdings" pitchFamily="2" charset="2"/>
              <a:buChar char="§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4777"/>
              </a:buClr>
              <a:buFont typeface="Wingdings" pitchFamily="2" charset="2"/>
              <a:buChar char="§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4777"/>
              </a:buClr>
              <a:buFont typeface="Wingdings" pitchFamily="2" charset="2"/>
              <a:buChar char="§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Nuclear Power Conference, Sofia</a:t>
            </a:r>
          </a:p>
          <a:p>
            <a:r>
              <a:rPr lang="en-GB" sz="1800" b="1" dirty="0"/>
              <a:t>12</a:t>
            </a:r>
            <a:r>
              <a:rPr lang="en-GB" sz="1800" b="1" baseline="30000" dirty="0"/>
              <a:t>th</a:t>
            </a:r>
            <a:r>
              <a:rPr lang="en-GB" sz="1800" b="1" dirty="0"/>
              <a:t> January 2023</a:t>
            </a:r>
          </a:p>
          <a:p>
            <a:endParaRPr lang="en-GB" sz="1800" b="1" dirty="0"/>
          </a:p>
          <a:p>
            <a:r>
              <a:rPr lang="en-GB" sz="1200" b="1" dirty="0"/>
              <a:t>Ed Coxon – Senior Customer Engagement Manager</a:t>
            </a:r>
          </a:p>
          <a:p>
            <a:r>
              <a:rPr lang="en-GB" sz="1200" dirty="0"/>
              <a:t>ed.coxon@rolls-royce-smr.com</a:t>
            </a:r>
          </a:p>
        </p:txBody>
      </p:sp>
    </p:spTree>
    <p:extLst>
      <p:ext uri="{BB962C8B-B14F-4D97-AF65-F5344CB8AC3E}">
        <p14:creationId xmlns:p14="http://schemas.microsoft.com/office/powerpoint/2010/main" val="40109946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BE9D546-8E1D-4D26-85B6-BE7E54741F8F}"/>
              </a:ext>
            </a:extLst>
          </p:cNvPr>
          <p:cNvSpPr txBox="1">
            <a:spLocks/>
          </p:cNvSpPr>
          <p:nvPr/>
        </p:nvSpPr>
        <p:spPr>
          <a:xfrm>
            <a:off x="1458310" y="209228"/>
            <a:ext cx="7479583" cy="7134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 bold"/>
                <a:ea typeface="+mj-ea"/>
                <a:cs typeface="+mj-cs"/>
              </a:rPr>
              <a:t>A Factory Fabricated Product 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RR Pioneer bold"/>
                <a:ea typeface="+mj-ea"/>
                <a:cs typeface="+mj-cs"/>
              </a:rPr>
              <a:t>Road transportability of modules is a pre-requisite, </a:t>
            </a:r>
            <a:r>
              <a:rPr lang="en-GB" sz="1400" dirty="0">
                <a:solidFill>
                  <a:schemeClr val="bg2">
                    <a:lumMod val="75000"/>
                  </a:schemeClr>
                </a:solidFill>
                <a:latin typeface="RR Pioneer bold"/>
              </a:rPr>
              <a:t>reducing Capex per MW and improving delivery time &amp; certainty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D5BDEED7-3FD5-49CC-91D5-319AFF7092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52842"/>
            <a:ext cx="9144000" cy="3748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497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>
            <a:extLst>
              <a:ext uri="{FF2B5EF4-FFF2-40B4-BE49-F238E27FC236}">
                <a16:creationId xmlns:a16="http://schemas.microsoft.com/office/drawing/2014/main" id="{CC5FE8AF-C5C7-46E4-8DAC-19E7CDFA47FB}"/>
              </a:ext>
            </a:extLst>
          </p:cNvPr>
          <p:cNvSpPr txBox="1">
            <a:spLocks/>
          </p:cNvSpPr>
          <p:nvPr/>
        </p:nvSpPr>
        <p:spPr>
          <a:xfrm>
            <a:off x="1682814" y="272432"/>
            <a:ext cx="7275253" cy="6333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Font typeface="+mj-lt"/>
              <a:buNone/>
              <a:defRPr sz="2400" b="0" kern="1200">
                <a:solidFill>
                  <a:srgbClr val="4F98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>
                <a:solidFill>
                  <a:srgbClr val="004777"/>
                </a:solidFill>
              </a:rPr>
              <a:t>Standard Kit of Parts / Modular Architecture Development</a:t>
            </a:r>
            <a:endParaRPr lang="en-GB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2FFB52EF-5C77-407E-A6C6-209001AABC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23859" y="1158838"/>
            <a:ext cx="1653960" cy="1454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0" descr="Diagram&#10;&#10;Description automatically generated">
            <a:extLst>
              <a:ext uri="{FF2B5EF4-FFF2-40B4-BE49-F238E27FC236}">
                <a16:creationId xmlns:a16="http://schemas.microsoft.com/office/drawing/2014/main" id="{24E6AE36-A25D-4F7A-9C5A-05804F385A5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061" y="3159024"/>
            <a:ext cx="1833902" cy="1306941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4D27D243-433C-4DF5-8920-4118A9881E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22305" y="1158669"/>
            <a:ext cx="2612806" cy="1469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0FE3136-4D7F-4C9E-A26E-9685BF48A6F2}"/>
              </a:ext>
            </a:extLst>
          </p:cNvPr>
          <p:cNvSpPr/>
          <p:nvPr/>
        </p:nvSpPr>
        <p:spPr>
          <a:xfrm>
            <a:off x="70911" y="1131544"/>
            <a:ext cx="2230855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100">
                <a:solidFill>
                  <a:schemeClr val="bg2"/>
                </a:solidFill>
              </a:rPr>
              <a:t>Module kit of parts categories:</a:t>
            </a:r>
          </a:p>
          <a:p>
            <a:pPr marL="263525" lvl="1" indent="-80963">
              <a:buFont typeface="Arial" panose="020B0604020202020204" pitchFamily="34" charset="0"/>
              <a:buChar char="•"/>
              <a:tabLst>
                <a:tab pos="720725" algn="l"/>
              </a:tabLst>
            </a:pPr>
            <a:r>
              <a:rPr lang="en-GB" sz="1100">
                <a:solidFill>
                  <a:schemeClr val="bg2"/>
                </a:solidFill>
              </a:rPr>
              <a:t>Vertical and Horizontal MEP Modules</a:t>
            </a:r>
          </a:p>
          <a:p>
            <a:pPr marL="263525" lvl="1" indent="-80963">
              <a:buFont typeface="Arial" panose="020B0604020202020204" pitchFamily="34" charset="0"/>
              <a:buChar char="•"/>
              <a:tabLst>
                <a:tab pos="720725" algn="l"/>
              </a:tabLst>
            </a:pPr>
            <a:r>
              <a:rPr lang="en-GB" sz="1100">
                <a:solidFill>
                  <a:schemeClr val="bg2"/>
                </a:solidFill>
              </a:rPr>
              <a:t>Vertical and Horizontal Tank Modules</a:t>
            </a:r>
          </a:p>
          <a:p>
            <a:pPr marL="263525" lvl="1" indent="-80963">
              <a:buFont typeface="Arial" panose="020B0604020202020204" pitchFamily="34" charset="0"/>
              <a:buChar char="•"/>
              <a:tabLst>
                <a:tab pos="720725" algn="l"/>
              </a:tabLst>
            </a:pPr>
            <a:r>
              <a:rPr lang="en-GB" sz="1100">
                <a:solidFill>
                  <a:schemeClr val="bg2"/>
                </a:solidFill>
              </a:rPr>
              <a:t>Personnel Access </a:t>
            </a:r>
          </a:p>
          <a:p>
            <a:pPr marL="263525" lvl="1" indent="-80963">
              <a:buFont typeface="Arial" panose="020B0604020202020204" pitchFamily="34" charset="0"/>
              <a:buChar char="•"/>
              <a:tabLst>
                <a:tab pos="720725" algn="l"/>
              </a:tabLst>
            </a:pPr>
            <a:r>
              <a:rPr lang="en-GB" sz="1100">
                <a:solidFill>
                  <a:schemeClr val="bg2"/>
                </a:solidFill>
              </a:rPr>
              <a:t>Pipe Cable and Utility Routing</a:t>
            </a:r>
          </a:p>
          <a:p>
            <a:pPr marL="263525" lvl="1" indent="-80963">
              <a:buFont typeface="Arial" panose="020B0604020202020204" pitchFamily="34" charset="0"/>
              <a:buChar char="•"/>
              <a:tabLst>
                <a:tab pos="720725" algn="l"/>
              </a:tabLst>
            </a:pPr>
            <a:r>
              <a:rPr lang="en-GB" sz="1100">
                <a:solidFill>
                  <a:schemeClr val="bg2"/>
                </a:solidFill>
              </a:rPr>
              <a:t>Shielding and Segregation</a:t>
            </a:r>
          </a:p>
          <a:p>
            <a:pPr marL="263525" lvl="1" indent="-80963">
              <a:buFont typeface="Arial" panose="020B0604020202020204" pitchFamily="34" charset="0"/>
              <a:buChar char="•"/>
              <a:tabLst>
                <a:tab pos="720725" algn="l"/>
              </a:tabLst>
            </a:pPr>
            <a:r>
              <a:rPr lang="en-GB" sz="1100">
                <a:solidFill>
                  <a:schemeClr val="bg2"/>
                </a:solidFill>
              </a:rPr>
              <a:t>Structural Module</a:t>
            </a:r>
          </a:p>
          <a:p>
            <a:pPr marL="263525" lvl="1" indent="-80963">
              <a:buFont typeface="Arial" panose="020B0604020202020204" pitchFamily="34" charset="0"/>
              <a:buChar char="•"/>
              <a:tabLst>
                <a:tab pos="720725" algn="l"/>
              </a:tabLst>
            </a:pPr>
            <a:r>
              <a:rPr lang="en-GB" sz="1100">
                <a:solidFill>
                  <a:schemeClr val="bg2"/>
                </a:solidFill>
              </a:rPr>
              <a:t>EC&amp;I Modules</a:t>
            </a:r>
          </a:p>
        </p:txBody>
      </p:sp>
      <p:pic>
        <p:nvPicPr>
          <p:cNvPr id="14" name="Picture 3">
            <a:extLst>
              <a:ext uri="{FF2B5EF4-FFF2-40B4-BE49-F238E27FC236}">
                <a16:creationId xmlns:a16="http://schemas.microsoft.com/office/drawing/2014/main" id="{C3273F13-0126-48ED-85E8-C998BA1B4F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34768" y="1663808"/>
            <a:ext cx="1712303" cy="88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id="{4E8E9A60-A528-4142-874C-B40EA68402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036904" y="2730855"/>
            <a:ext cx="1313363" cy="784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32D8E511-2BD1-48B0-9B4C-252F116C74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-1"/>
          <a:stretch/>
        </p:blipFill>
        <p:spPr bwMode="auto">
          <a:xfrm>
            <a:off x="4415871" y="2701996"/>
            <a:ext cx="746523" cy="1713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4034763B-4F70-46D8-BBAC-E8C86021A1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15110" y="2725852"/>
            <a:ext cx="746522" cy="13750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FC26E8A3-CAC1-4619-9055-5CF6661C6C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92378" y="2627979"/>
            <a:ext cx="746523" cy="1787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>
            <a:extLst>
              <a:ext uri="{FF2B5EF4-FFF2-40B4-BE49-F238E27FC236}">
                <a16:creationId xmlns:a16="http://schemas.microsoft.com/office/drawing/2014/main" id="{58A25202-A47E-4768-A4CF-1C51F5F7FD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78693" y="2754603"/>
            <a:ext cx="637940" cy="1647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Content Placeholder 3">
            <a:extLst>
              <a:ext uri="{FF2B5EF4-FFF2-40B4-BE49-F238E27FC236}">
                <a16:creationId xmlns:a16="http://schemas.microsoft.com/office/drawing/2014/main" id="{2FD12ACA-76D4-433E-A861-DA02309CB58A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82237" y="2843450"/>
            <a:ext cx="1033293" cy="767988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0CB6D8F-3C17-409A-9ECA-9085814F1C7D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12154" y="2820798"/>
            <a:ext cx="963832" cy="777284"/>
          </a:xfrm>
          <a:prstGeom prst="rect">
            <a:avLst/>
          </a:prstGeom>
        </p:spPr>
      </p:pic>
      <p:pic>
        <p:nvPicPr>
          <p:cNvPr id="22" name="Picture 2">
            <a:extLst>
              <a:ext uri="{FF2B5EF4-FFF2-40B4-BE49-F238E27FC236}">
                <a16:creationId xmlns:a16="http://schemas.microsoft.com/office/drawing/2014/main" id="{2398A7CB-C43B-4B7D-B059-24E1536770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35822" y="3743595"/>
            <a:ext cx="1099289" cy="516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12CB4AE-95C8-4101-A997-3B5795D77D4C}"/>
              </a:ext>
            </a:extLst>
          </p:cNvPr>
          <p:cNvSpPr txBox="1"/>
          <p:nvPr/>
        </p:nvSpPr>
        <p:spPr>
          <a:xfrm>
            <a:off x="2861632" y="3578519"/>
            <a:ext cx="15898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solidFill>
                  <a:schemeClr val="bg2"/>
                </a:solidFill>
              </a:rPr>
              <a:t>All based on a standard reference grid system</a:t>
            </a:r>
          </a:p>
        </p:txBody>
      </p:sp>
    </p:spTree>
    <p:extLst>
      <p:ext uri="{BB962C8B-B14F-4D97-AF65-F5344CB8AC3E}">
        <p14:creationId xmlns:p14="http://schemas.microsoft.com/office/powerpoint/2010/main" val="35650894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Arrow: Right 17">
            <a:extLst>
              <a:ext uri="{FF2B5EF4-FFF2-40B4-BE49-F238E27FC236}">
                <a16:creationId xmlns:a16="http://schemas.microsoft.com/office/drawing/2014/main" id="{FF8021DD-26FE-574E-7E88-E35D60FB7A2C}"/>
              </a:ext>
            </a:extLst>
          </p:cNvPr>
          <p:cNvSpPr/>
          <p:nvPr/>
        </p:nvSpPr>
        <p:spPr>
          <a:xfrm>
            <a:off x="233014" y="3064023"/>
            <a:ext cx="8723146" cy="1396965"/>
          </a:xfrm>
          <a:prstGeom prst="rightArrow">
            <a:avLst>
              <a:gd name="adj1" fmla="val 65565"/>
              <a:gd name="adj2" fmla="val 90988"/>
            </a:avLst>
          </a:prstGeom>
          <a:solidFill>
            <a:srgbClr val="10069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D788A4-705A-42D0-8F06-9E64734337F7}"/>
              </a:ext>
            </a:extLst>
          </p:cNvPr>
          <p:cNvSpPr/>
          <p:nvPr/>
        </p:nvSpPr>
        <p:spPr>
          <a:xfrm>
            <a:off x="0" y="1092200"/>
            <a:ext cx="9144000" cy="4051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1628433" y="114659"/>
            <a:ext cx="6788367" cy="71343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 Bold"/>
                <a:ea typeface="+mj-ea"/>
                <a:cs typeface="+mj-cs"/>
              </a:rPr>
              <a:t>Rolls-Royce SMR is a factory fabricated </a:t>
            </a:r>
            <a:r>
              <a:rPr kumimoji="0" lang="en-GB" sz="1600" i="0" u="none" strike="noStrike" kern="1200" cap="none" spc="0" normalizeH="0" baseline="0" noProof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 Bold"/>
                <a:ea typeface="+mj-ea"/>
                <a:cs typeface="+mj-cs"/>
              </a:rPr>
              <a:t>product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 Bold"/>
                <a:ea typeface="+mj-ea"/>
                <a:cs typeface="+mj-cs"/>
              </a:rPr>
              <a:t>Modularisation of the whole power station, not just the nuclear island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37FC12E4-770F-473C-B778-A1A19415D71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43178" y="1402594"/>
            <a:ext cx="2154653" cy="1177011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536B0B5F-38B3-4D7E-AD26-026B6D58080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3938" y="1380995"/>
            <a:ext cx="2150326" cy="1247477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12A4556-29D4-45E4-8C43-ED046CB166F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2403" y="1410352"/>
            <a:ext cx="2154660" cy="116139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5EB435F-C49C-4332-8D9F-BC39ED374A1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5167" y="1424665"/>
            <a:ext cx="1906430" cy="1160136"/>
          </a:xfrm>
          <a:prstGeom prst="round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A039378-40C3-4C1B-A961-CCE445B9CD4B}"/>
              </a:ext>
            </a:extLst>
          </p:cNvPr>
          <p:cNvSpPr txBox="1"/>
          <p:nvPr/>
        </p:nvSpPr>
        <p:spPr>
          <a:xfrm>
            <a:off x="386879" y="2629907"/>
            <a:ext cx="1805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Primary Plant Modu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E1816F0-0EC7-4B49-9E1C-65396BFB2CDA}"/>
              </a:ext>
            </a:extLst>
          </p:cNvPr>
          <p:cNvSpPr txBox="1"/>
          <p:nvPr/>
        </p:nvSpPr>
        <p:spPr>
          <a:xfrm>
            <a:off x="2520569" y="2572404"/>
            <a:ext cx="197943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Mechanical, </a:t>
            </a:r>
            <a:r>
              <a:rPr lang="en-GB" sz="1200" b="1">
                <a:solidFill>
                  <a:srgbClr val="10069F"/>
                </a:solidFill>
                <a:latin typeface="RR Pioneer"/>
              </a:rPr>
              <a:t>Electrical &amp; Plumbing 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Modul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C8B621D-FD2A-49B4-AD47-0E59E4C5E4BA}"/>
              </a:ext>
            </a:extLst>
          </p:cNvPr>
          <p:cNvSpPr txBox="1"/>
          <p:nvPr/>
        </p:nvSpPr>
        <p:spPr>
          <a:xfrm>
            <a:off x="5206429" y="2630003"/>
            <a:ext cx="14033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Civil Modules 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4C3CA250-B8F7-4B95-97ED-0604D4856AE5}"/>
              </a:ext>
            </a:extLst>
          </p:cNvPr>
          <p:cNvSpPr/>
          <p:nvPr/>
        </p:nvSpPr>
        <p:spPr>
          <a:xfrm>
            <a:off x="212403" y="1112188"/>
            <a:ext cx="6611860" cy="268807"/>
          </a:xfrm>
          <a:prstGeom prst="round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Module Factories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54BC1353-930A-4918-A0C4-EEA8CF839BF7}"/>
              </a:ext>
            </a:extLst>
          </p:cNvPr>
          <p:cNvSpPr/>
          <p:nvPr/>
        </p:nvSpPr>
        <p:spPr>
          <a:xfrm>
            <a:off x="7036665" y="1112187"/>
            <a:ext cx="1894931" cy="268807"/>
          </a:xfrm>
          <a:prstGeom prst="round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Site Assembl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5D23585-C56A-4302-BCCC-868C68C433FC}"/>
              </a:ext>
            </a:extLst>
          </p:cNvPr>
          <p:cNvSpPr txBox="1"/>
          <p:nvPr/>
        </p:nvSpPr>
        <p:spPr>
          <a:xfrm>
            <a:off x="7113145" y="2629907"/>
            <a:ext cx="18430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Site Assembly Factory</a:t>
            </a: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9132BF10-C734-4168-9C1F-C06F18D48B4A}"/>
              </a:ext>
            </a:extLst>
          </p:cNvPr>
          <p:cNvGraphicFramePr/>
          <p:nvPr/>
        </p:nvGraphicFramePr>
        <p:xfrm>
          <a:off x="2016000" y="3096000"/>
          <a:ext cx="5976000" cy="136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53E89F2F-5DC7-4C05-A8FF-CDA9E8B461E8}"/>
              </a:ext>
            </a:extLst>
          </p:cNvPr>
          <p:cNvSpPr txBox="1"/>
          <p:nvPr/>
        </p:nvSpPr>
        <p:spPr>
          <a:xfrm>
            <a:off x="264746" y="3498320"/>
            <a:ext cx="18057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solidFill>
                  <a:prstClr val="white"/>
                </a:solidFill>
                <a:latin typeface="RR Pioneer"/>
              </a:rPr>
              <a:t>Modularisation drives down cost</a:t>
            </a:r>
            <a:r>
              <a:rPr kumimoji="0" lang="en-GB" sz="12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R Pioneer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405579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South Georgia and South Sandwich Islands">
            <a:extLst>
              <a:ext uri="{FF2B5EF4-FFF2-40B4-BE49-F238E27FC236}">
                <a16:creationId xmlns:a16="http://schemas.microsoft.com/office/drawing/2014/main" id="{8408BB9D-4DB4-40FB-A838-7BC06D527896}"/>
              </a:ext>
            </a:extLst>
          </p:cNvPr>
          <p:cNvSpPr>
            <a:spLocks noEditPoints="1"/>
          </p:cNvSpPr>
          <p:nvPr/>
        </p:nvSpPr>
        <p:spPr bwMode="auto">
          <a:xfrm>
            <a:off x="4086426" y="4437458"/>
            <a:ext cx="166586" cy="115750"/>
          </a:xfrm>
          <a:custGeom>
            <a:avLst/>
            <a:gdLst>
              <a:gd name="T0" fmla="*/ 17 w 213"/>
              <a:gd name="T1" fmla="*/ 3 h 148"/>
              <a:gd name="T2" fmla="*/ 18 w 213"/>
              <a:gd name="T3" fmla="*/ 4 h 148"/>
              <a:gd name="T4" fmla="*/ 20 w 213"/>
              <a:gd name="T5" fmla="*/ 3 h 148"/>
              <a:gd name="T6" fmla="*/ 21 w 213"/>
              <a:gd name="T7" fmla="*/ 3 h 148"/>
              <a:gd name="T8" fmla="*/ 22 w 213"/>
              <a:gd name="T9" fmla="*/ 3 h 148"/>
              <a:gd name="T10" fmla="*/ 22 w 213"/>
              <a:gd name="T11" fmla="*/ 4 h 148"/>
              <a:gd name="T12" fmla="*/ 24 w 213"/>
              <a:gd name="T13" fmla="*/ 4 h 148"/>
              <a:gd name="T14" fmla="*/ 25 w 213"/>
              <a:gd name="T15" fmla="*/ 6 h 148"/>
              <a:gd name="T16" fmla="*/ 25 w 213"/>
              <a:gd name="T17" fmla="*/ 9 h 148"/>
              <a:gd name="T18" fmla="*/ 27 w 213"/>
              <a:gd name="T19" fmla="*/ 9 h 148"/>
              <a:gd name="T20" fmla="*/ 28 w 213"/>
              <a:gd name="T21" fmla="*/ 10 h 148"/>
              <a:gd name="T22" fmla="*/ 29 w 213"/>
              <a:gd name="T23" fmla="*/ 10 h 148"/>
              <a:gd name="T24" fmla="*/ 29 w 213"/>
              <a:gd name="T25" fmla="*/ 9 h 148"/>
              <a:gd name="T26" fmla="*/ 31 w 213"/>
              <a:gd name="T27" fmla="*/ 9 h 148"/>
              <a:gd name="T28" fmla="*/ 31 w 213"/>
              <a:gd name="T29" fmla="*/ 10 h 148"/>
              <a:gd name="T30" fmla="*/ 32 w 213"/>
              <a:gd name="T31" fmla="*/ 11 h 148"/>
              <a:gd name="T32" fmla="*/ 34 w 213"/>
              <a:gd name="T33" fmla="*/ 13 h 148"/>
              <a:gd name="T34" fmla="*/ 35 w 213"/>
              <a:gd name="T35" fmla="*/ 14 h 148"/>
              <a:gd name="T36" fmla="*/ 35 w 213"/>
              <a:gd name="T37" fmla="*/ 18 h 148"/>
              <a:gd name="T38" fmla="*/ 36 w 213"/>
              <a:gd name="T39" fmla="*/ 18 h 148"/>
              <a:gd name="T40" fmla="*/ 38 w 213"/>
              <a:gd name="T41" fmla="*/ 18 h 148"/>
              <a:gd name="T42" fmla="*/ 38 w 213"/>
              <a:gd name="T43" fmla="*/ 18 h 148"/>
              <a:gd name="T44" fmla="*/ 38 w 213"/>
              <a:gd name="T45" fmla="*/ 20 h 148"/>
              <a:gd name="T46" fmla="*/ 38 w 213"/>
              <a:gd name="T47" fmla="*/ 23 h 148"/>
              <a:gd name="T48" fmla="*/ 41 w 213"/>
              <a:gd name="T49" fmla="*/ 24 h 148"/>
              <a:gd name="T50" fmla="*/ 39 w 213"/>
              <a:gd name="T51" fmla="*/ 25 h 148"/>
              <a:gd name="T52" fmla="*/ 38 w 213"/>
              <a:gd name="T53" fmla="*/ 27 h 148"/>
              <a:gd name="T54" fmla="*/ 35 w 213"/>
              <a:gd name="T55" fmla="*/ 28 h 148"/>
              <a:gd name="T56" fmla="*/ 34 w 213"/>
              <a:gd name="T57" fmla="*/ 27 h 148"/>
              <a:gd name="T58" fmla="*/ 32 w 213"/>
              <a:gd name="T59" fmla="*/ 25 h 148"/>
              <a:gd name="T60" fmla="*/ 31 w 213"/>
              <a:gd name="T61" fmla="*/ 23 h 148"/>
              <a:gd name="T62" fmla="*/ 28 w 213"/>
              <a:gd name="T63" fmla="*/ 18 h 148"/>
              <a:gd name="T64" fmla="*/ 28 w 213"/>
              <a:gd name="T65" fmla="*/ 17 h 148"/>
              <a:gd name="T66" fmla="*/ 28 w 213"/>
              <a:gd name="T67" fmla="*/ 17 h 148"/>
              <a:gd name="T68" fmla="*/ 25 w 213"/>
              <a:gd name="T69" fmla="*/ 16 h 148"/>
              <a:gd name="T70" fmla="*/ 24 w 213"/>
              <a:gd name="T71" fmla="*/ 16 h 148"/>
              <a:gd name="T72" fmla="*/ 21 w 213"/>
              <a:gd name="T73" fmla="*/ 13 h 148"/>
              <a:gd name="T74" fmla="*/ 21 w 213"/>
              <a:gd name="T75" fmla="*/ 11 h 148"/>
              <a:gd name="T76" fmla="*/ 21 w 213"/>
              <a:gd name="T77" fmla="*/ 11 h 148"/>
              <a:gd name="T78" fmla="*/ 18 w 213"/>
              <a:gd name="T79" fmla="*/ 11 h 148"/>
              <a:gd name="T80" fmla="*/ 17 w 213"/>
              <a:gd name="T81" fmla="*/ 10 h 148"/>
              <a:gd name="T82" fmla="*/ 15 w 213"/>
              <a:gd name="T83" fmla="*/ 9 h 148"/>
              <a:gd name="T84" fmla="*/ 10 w 213"/>
              <a:gd name="T85" fmla="*/ 6 h 148"/>
              <a:gd name="T86" fmla="*/ 7 w 213"/>
              <a:gd name="T87" fmla="*/ 6 h 148"/>
              <a:gd name="T88" fmla="*/ 6 w 213"/>
              <a:gd name="T89" fmla="*/ 4 h 148"/>
              <a:gd name="T90" fmla="*/ 6 w 213"/>
              <a:gd name="T91" fmla="*/ 3 h 148"/>
              <a:gd name="T92" fmla="*/ 7 w 213"/>
              <a:gd name="T93" fmla="*/ 2 h 148"/>
              <a:gd name="T94" fmla="*/ 2 w 213"/>
              <a:gd name="T95" fmla="*/ 2 h 148"/>
              <a:gd name="T96" fmla="*/ 0 w 213"/>
              <a:gd name="T97" fmla="*/ 0 h 148"/>
              <a:gd name="T98" fmla="*/ 2 w 213"/>
              <a:gd name="T99" fmla="*/ 0 h 148"/>
              <a:gd name="T100" fmla="*/ 9 w 213"/>
              <a:gd name="T101" fmla="*/ 0 h 148"/>
              <a:gd name="T102" fmla="*/ 11 w 213"/>
              <a:gd name="T103" fmla="*/ 0 h 148"/>
              <a:gd name="T104" fmla="*/ 11 w 213"/>
              <a:gd name="T105" fmla="*/ 0 h 148"/>
              <a:gd name="T106" fmla="*/ 14 w 213"/>
              <a:gd name="T107" fmla="*/ 3 h 148"/>
              <a:gd name="T108" fmla="*/ 17 w 213"/>
              <a:gd name="T109" fmla="*/ 3 h 148"/>
              <a:gd name="T110" fmla="*/ 213 w 213"/>
              <a:gd name="T111" fmla="*/ 145 h 148"/>
              <a:gd name="T112" fmla="*/ 213 w 213"/>
              <a:gd name="T113" fmla="*/ 148 h 148"/>
              <a:gd name="T114" fmla="*/ 211 w 213"/>
              <a:gd name="T115" fmla="*/ 145 h 148"/>
              <a:gd name="T116" fmla="*/ 211 w 213"/>
              <a:gd name="T117" fmla="*/ 145 h 148"/>
              <a:gd name="T118" fmla="*/ 211 w 213"/>
              <a:gd name="T119" fmla="*/ 144 h 148"/>
              <a:gd name="T120" fmla="*/ 213 w 213"/>
              <a:gd name="T121" fmla="*/ 144 h 148"/>
              <a:gd name="T122" fmla="*/ 213 w 213"/>
              <a:gd name="T123" fmla="*/ 144 h 148"/>
              <a:gd name="T124" fmla="*/ 213 w 213"/>
              <a:gd name="T125" fmla="*/ 145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3" h="148">
                <a:moveTo>
                  <a:pt x="17" y="3"/>
                </a:moveTo>
                <a:lnTo>
                  <a:pt x="18" y="4"/>
                </a:lnTo>
                <a:lnTo>
                  <a:pt x="20" y="3"/>
                </a:lnTo>
                <a:lnTo>
                  <a:pt x="21" y="3"/>
                </a:lnTo>
                <a:lnTo>
                  <a:pt x="22" y="3"/>
                </a:lnTo>
                <a:lnTo>
                  <a:pt x="22" y="4"/>
                </a:lnTo>
                <a:lnTo>
                  <a:pt x="24" y="4"/>
                </a:lnTo>
                <a:lnTo>
                  <a:pt x="25" y="6"/>
                </a:lnTo>
                <a:lnTo>
                  <a:pt x="25" y="9"/>
                </a:lnTo>
                <a:lnTo>
                  <a:pt x="27" y="9"/>
                </a:lnTo>
                <a:lnTo>
                  <a:pt x="28" y="10"/>
                </a:lnTo>
                <a:lnTo>
                  <a:pt x="29" y="10"/>
                </a:lnTo>
                <a:lnTo>
                  <a:pt x="29" y="9"/>
                </a:lnTo>
                <a:lnTo>
                  <a:pt x="31" y="9"/>
                </a:lnTo>
                <a:lnTo>
                  <a:pt x="31" y="10"/>
                </a:lnTo>
                <a:lnTo>
                  <a:pt x="32" y="11"/>
                </a:lnTo>
                <a:lnTo>
                  <a:pt x="34" y="13"/>
                </a:lnTo>
                <a:lnTo>
                  <a:pt x="35" y="14"/>
                </a:lnTo>
                <a:lnTo>
                  <a:pt x="35" y="18"/>
                </a:lnTo>
                <a:lnTo>
                  <a:pt x="36" y="18"/>
                </a:lnTo>
                <a:lnTo>
                  <a:pt x="38" y="18"/>
                </a:lnTo>
                <a:lnTo>
                  <a:pt x="38" y="18"/>
                </a:lnTo>
                <a:lnTo>
                  <a:pt x="38" y="20"/>
                </a:lnTo>
                <a:lnTo>
                  <a:pt x="38" y="23"/>
                </a:lnTo>
                <a:lnTo>
                  <a:pt x="41" y="24"/>
                </a:lnTo>
                <a:lnTo>
                  <a:pt x="39" y="25"/>
                </a:lnTo>
                <a:lnTo>
                  <a:pt x="38" y="27"/>
                </a:lnTo>
                <a:lnTo>
                  <a:pt x="35" y="28"/>
                </a:lnTo>
                <a:lnTo>
                  <a:pt x="34" y="27"/>
                </a:lnTo>
                <a:lnTo>
                  <a:pt x="32" y="25"/>
                </a:lnTo>
                <a:lnTo>
                  <a:pt x="31" y="23"/>
                </a:lnTo>
                <a:lnTo>
                  <a:pt x="28" y="18"/>
                </a:lnTo>
                <a:lnTo>
                  <a:pt x="28" y="17"/>
                </a:lnTo>
                <a:lnTo>
                  <a:pt x="28" y="17"/>
                </a:lnTo>
                <a:lnTo>
                  <a:pt x="25" y="16"/>
                </a:lnTo>
                <a:lnTo>
                  <a:pt x="24" y="16"/>
                </a:lnTo>
                <a:lnTo>
                  <a:pt x="21" y="13"/>
                </a:lnTo>
                <a:lnTo>
                  <a:pt x="21" y="11"/>
                </a:lnTo>
                <a:lnTo>
                  <a:pt x="21" y="11"/>
                </a:lnTo>
                <a:lnTo>
                  <a:pt x="18" y="11"/>
                </a:lnTo>
                <a:lnTo>
                  <a:pt x="17" y="10"/>
                </a:lnTo>
                <a:lnTo>
                  <a:pt x="15" y="9"/>
                </a:lnTo>
                <a:lnTo>
                  <a:pt x="10" y="6"/>
                </a:lnTo>
                <a:lnTo>
                  <a:pt x="7" y="6"/>
                </a:lnTo>
                <a:lnTo>
                  <a:pt x="6" y="4"/>
                </a:lnTo>
                <a:lnTo>
                  <a:pt x="6" y="3"/>
                </a:lnTo>
                <a:lnTo>
                  <a:pt x="7" y="2"/>
                </a:lnTo>
                <a:lnTo>
                  <a:pt x="2" y="2"/>
                </a:lnTo>
                <a:lnTo>
                  <a:pt x="0" y="0"/>
                </a:lnTo>
                <a:lnTo>
                  <a:pt x="2" y="0"/>
                </a:lnTo>
                <a:lnTo>
                  <a:pt x="9" y="0"/>
                </a:lnTo>
                <a:lnTo>
                  <a:pt x="11" y="0"/>
                </a:lnTo>
                <a:lnTo>
                  <a:pt x="11" y="0"/>
                </a:lnTo>
                <a:lnTo>
                  <a:pt x="14" y="3"/>
                </a:lnTo>
                <a:lnTo>
                  <a:pt x="17" y="3"/>
                </a:lnTo>
                <a:close/>
                <a:moveTo>
                  <a:pt x="213" y="145"/>
                </a:moveTo>
                <a:lnTo>
                  <a:pt x="213" y="148"/>
                </a:lnTo>
                <a:lnTo>
                  <a:pt x="211" y="145"/>
                </a:lnTo>
                <a:lnTo>
                  <a:pt x="211" y="145"/>
                </a:lnTo>
                <a:lnTo>
                  <a:pt x="211" y="144"/>
                </a:lnTo>
                <a:lnTo>
                  <a:pt x="213" y="144"/>
                </a:lnTo>
                <a:lnTo>
                  <a:pt x="213" y="144"/>
                </a:lnTo>
                <a:lnTo>
                  <a:pt x="213" y="145"/>
                </a:lnTo>
                <a:close/>
              </a:path>
            </a:pathLst>
          </a:custGeom>
          <a:solidFill>
            <a:srgbClr val="880E4F"/>
          </a:solidFill>
          <a:ln w="3175" cap="rnd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267" name="Title 1">
            <a:extLst>
              <a:ext uri="{FF2B5EF4-FFF2-40B4-BE49-F238E27FC236}">
                <a16:creationId xmlns:a16="http://schemas.microsoft.com/office/drawing/2014/main" id="{5413BB3B-3F8C-48F2-938D-4B95C9F69549}"/>
              </a:ext>
            </a:extLst>
          </p:cNvPr>
          <p:cNvSpPr txBox="1">
            <a:spLocks/>
          </p:cNvSpPr>
          <p:nvPr/>
        </p:nvSpPr>
        <p:spPr>
          <a:xfrm>
            <a:off x="1417668" y="236413"/>
            <a:ext cx="7402482" cy="516824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004777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 Bold" panose="020B0803050201040103" pitchFamily="34" charset="0"/>
                <a:ea typeface="+mj-ea"/>
                <a:cs typeface="Arial" panose="020B0604020202020204" pitchFamily="34" charset="0"/>
              </a:rPr>
              <a:t>Rolls-Royce SMR Vision - European Strength in Depth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004777"/>
              </a:buClr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 Bold" panose="020B0803050201040103" pitchFamily="34" charset="0"/>
                <a:ea typeface="+mj-ea"/>
                <a:cs typeface="Arial" panose="020B0604020202020204" pitchFamily="34" charset="0"/>
              </a:rPr>
              <a:t>Utilising the continents best capabilities with multiple layers of redundancy</a:t>
            </a:r>
          </a:p>
        </p:txBody>
      </p: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9E27E5A4-D86E-67ED-F084-9C49375C2BB3}"/>
              </a:ext>
            </a:extLst>
          </p:cNvPr>
          <p:cNvGrpSpPr/>
          <p:nvPr/>
        </p:nvGrpSpPr>
        <p:grpSpPr>
          <a:xfrm>
            <a:off x="743596" y="1141985"/>
            <a:ext cx="3872510" cy="3652303"/>
            <a:chOff x="2223313" y="1141985"/>
            <a:chExt cx="3872510" cy="3652303"/>
          </a:xfrm>
        </p:grpSpPr>
        <p:grpSp>
          <p:nvGrpSpPr>
            <p:cNvPr id="235" name="Group 234">
              <a:extLst>
                <a:ext uri="{FF2B5EF4-FFF2-40B4-BE49-F238E27FC236}">
                  <a16:creationId xmlns:a16="http://schemas.microsoft.com/office/drawing/2014/main" id="{B846A575-0F41-C546-620F-D031D1B7DBB0}"/>
                </a:ext>
              </a:extLst>
            </p:cNvPr>
            <p:cNvGrpSpPr/>
            <p:nvPr/>
          </p:nvGrpSpPr>
          <p:grpSpPr>
            <a:xfrm>
              <a:off x="2223313" y="1141985"/>
              <a:ext cx="3872510" cy="3652303"/>
              <a:chOff x="4368763" y="2070836"/>
              <a:chExt cx="894718" cy="1050355"/>
            </a:xfrm>
          </p:grpSpPr>
          <p:sp>
            <p:nvSpPr>
              <p:cNvPr id="236" name="Andorra">
                <a:extLst>
                  <a:ext uri="{FF2B5EF4-FFF2-40B4-BE49-F238E27FC236}">
                    <a16:creationId xmlns:a16="http://schemas.microsoft.com/office/drawing/2014/main" id="{34302F03-CE2C-1F96-2A92-0B2136E134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6407" y="2859971"/>
                <a:ext cx="4692" cy="3910"/>
              </a:xfrm>
              <a:custGeom>
                <a:avLst/>
                <a:gdLst>
                  <a:gd name="T0" fmla="*/ 6 w 6"/>
                  <a:gd name="T1" fmla="*/ 4 h 5"/>
                  <a:gd name="T2" fmla="*/ 4 w 6"/>
                  <a:gd name="T3" fmla="*/ 4 h 5"/>
                  <a:gd name="T4" fmla="*/ 3 w 6"/>
                  <a:gd name="T5" fmla="*/ 5 h 5"/>
                  <a:gd name="T6" fmla="*/ 2 w 6"/>
                  <a:gd name="T7" fmla="*/ 5 h 5"/>
                  <a:gd name="T8" fmla="*/ 2 w 6"/>
                  <a:gd name="T9" fmla="*/ 5 h 5"/>
                  <a:gd name="T10" fmla="*/ 0 w 6"/>
                  <a:gd name="T11" fmla="*/ 5 h 5"/>
                  <a:gd name="T12" fmla="*/ 0 w 6"/>
                  <a:gd name="T13" fmla="*/ 5 h 5"/>
                  <a:gd name="T14" fmla="*/ 0 w 6"/>
                  <a:gd name="T15" fmla="*/ 4 h 5"/>
                  <a:gd name="T16" fmla="*/ 0 w 6"/>
                  <a:gd name="T17" fmla="*/ 2 h 5"/>
                  <a:gd name="T18" fmla="*/ 0 w 6"/>
                  <a:gd name="T19" fmla="*/ 2 h 5"/>
                  <a:gd name="T20" fmla="*/ 0 w 6"/>
                  <a:gd name="T21" fmla="*/ 1 h 5"/>
                  <a:gd name="T22" fmla="*/ 0 w 6"/>
                  <a:gd name="T23" fmla="*/ 1 h 5"/>
                  <a:gd name="T24" fmla="*/ 2 w 6"/>
                  <a:gd name="T25" fmla="*/ 0 h 5"/>
                  <a:gd name="T26" fmla="*/ 3 w 6"/>
                  <a:gd name="T27" fmla="*/ 0 h 5"/>
                  <a:gd name="T28" fmla="*/ 6 w 6"/>
                  <a:gd name="T29" fmla="*/ 1 h 5"/>
                  <a:gd name="T30" fmla="*/ 6 w 6"/>
                  <a:gd name="T31" fmla="*/ 1 h 5"/>
                  <a:gd name="T32" fmla="*/ 6 w 6"/>
                  <a:gd name="T33" fmla="*/ 2 h 5"/>
                  <a:gd name="T34" fmla="*/ 6 w 6"/>
                  <a:gd name="T35" fmla="*/ 2 h 5"/>
                  <a:gd name="T36" fmla="*/ 6 w 6"/>
                  <a:gd name="T3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" h="5">
                    <a:moveTo>
                      <a:pt x="6" y="4"/>
                    </a:moveTo>
                    <a:lnTo>
                      <a:pt x="4" y="4"/>
                    </a:lnTo>
                    <a:lnTo>
                      <a:pt x="3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37" name="Albania">
                <a:extLst>
                  <a:ext uri="{FF2B5EF4-FFF2-40B4-BE49-F238E27FC236}">
                    <a16:creationId xmlns:a16="http://schemas.microsoft.com/office/drawing/2014/main" id="{4137D580-04B1-9474-91D9-8915A83449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0588" y="2859971"/>
                <a:ext cx="25027" cy="56311"/>
              </a:xfrm>
              <a:custGeom>
                <a:avLst/>
                <a:gdLst>
                  <a:gd name="T0" fmla="*/ 14 w 32"/>
                  <a:gd name="T1" fmla="*/ 2 h 72"/>
                  <a:gd name="T2" fmla="*/ 16 w 32"/>
                  <a:gd name="T3" fmla="*/ 8 h 72"/>
                  <a:gd name="T4" fmla="*/ 19 w 32"/>
                  <a:gd name="T5" fmla="*/ 9 h 72"/>
                  <a:gd name="T6" fmla="*/ 22 w 32"/>
                  <a:gd name="T7" fmla="*/ 12 h 72"/>
                  <a:gd name="T8" fmla="*/ 23 w 32"/>
                  <a:gd name="T9" fmla="*/ 18 h 72"/>
                  <a:gd name="T10" fmla="*/ 22 w 32"/>
                  <a:gd name="T11" fmla="*/ 19 h 72"/>
                  <a:gd name="T12" fmla="*/ 22 w 32"/>
                  <a:gd name="T13" fmla="*/ 25 h 72"/>
                  <a:gd name="T14" fmla="*/ 21 w 32"/>
                  <a:gd name="T15" fmla="*/ 26 h 72"/>
                  <a:gd name="T16" fmla="*/ 22 w 32"/>
                  <a:gd name="T17" fmla="*/ 30 h 72"/>
                  <a:gd name="T18" fmla="*/ 21 w 32"/>
                  <a:gd name="T19" fmla="*/ 33 h 72"/>
                  <a:gd name="T20" fmla="*/ 23 w 32"/>
                  <a:gd name="T21" fmla="*/ 39 h 72"/>
                  <a:gd name="T22" fmla="*/ 25 w 32"/>
                  <a:gd name="T23" fmla="*/ 41 h 72"/>
                  <a:gd name="T24" fmla="*/ 28 w 32"/>
                  <a:gd name="T25" fmla="*/ 41 h 72"/>
                  <a:gd name="T26" fmla="*/ 30 w 32"/>
                  <a:gd name="T27" fmla="*/ 43 h 72"/>
                  <a:gd name="T28" fmla="*/ 30 w 32"/>
                  <a:gd name="T29" fmla="*/ 45 h 72"/>
                  <a:gd name="T30" fmla="*/ 32 w 32"/>
                  <a:gd name="T31" fmla="*/ 48 h 72"/>
                  <a:gd name="T32" fmla="*/ 30 w 32"/>
                  <a:gd name="T33" fmla="*/ 50 h 72"/>
                  <a:gd name="T34" fmla="*/ 29 w 32"/>
                  <a:gd name="T35" fmla="*/ 52 h 72"/>
                  <a:gd name="T36" fmla="*/ 26 w 32"/>
                  <a:gd name="T37" fmla="*/ 54 h 72"/>
                  <a:gd name="T38" fmla="*/ 25 w 32"/>
                  <a:gd name="T39" fmla="*/ 57 h 72"/>
                  <a:gd name="T40" fmla="*/ 25 w 32"/>
                  <a:gd name="T41" fmla="*/ 59 h 72"/>
                  <a:gd name="T42" fmla="*/ 23 w 32"/>
                  <a:gd name="T43" fmla="*/ 62 h 72"/>
                  <a:gd name="T44" fmla="*/ 21 w 32"/>
                  <a:gd name="T45" fmla="*/ 62 h 72"/>
                  <a:gd name="T46" fmla="*/ 19 w 32"/>
                  <a:gd name="T47" fmla="*/ 64 h 72"/>
                  <a:gd name="T48" fmla="*/ 18 w 32"/>
                  <a:gd name="T49" fmla="*/ 64 h 72"/>
                  <a:gd name="T50" fmla="*/ 19 w 32"/>
                  <a:gd name="T51" fmla="*/ 66 h 72"/>
                  <a:gd name="T52" fmla="*/ 19 w 32"/>
                  <a:gd name="T53" fmla="*/ 68 h 72"/>
                  <a:gd name="T54" fmla="*/ 18 w 32"/>
                  <a:gd name="T55" fmla="*/ 68 h 72"/>
                  <a:gd name="T56" fmla="*/ 18 w 32"/>
                  <a:gd name="T57" fmla="*/ 69 h 72"/>
                  <a:gd name="T58" fmla="*/ 16 w 32"/>
                  <a:gd name="T59" fmla="*/ 71 h 72"/>
                  <a:gd name="T60" fmla="*/ 15 w 32"/>
                  <a:gd name="T61" fmla="*/ 72 h 72"/>
                  <a:gd name="T62" fmla="*/ 12 w 32"/>
                  <a:gd name="T63" fmla="*/ 71 h 72"/>
                  <a:gd name="T64" fmla="*/ 12 w 32"/>
                  <a:gd name="T65" fmla="*/ 68 h 72"/>
                  <a:gd name="T66" fmla="*/ 10 w 32"/>
                  <a:gd name="T67" fmla="*/ 62 h 72"/>
                  <a:gd name="T68" fmla="*/ 1 w 32"/>
                  <a:gd name="T69" fmla="*/ 57 h 72"/>
                  <a:gd name="T70" fmla="*/ 0 w 32"/>
                  <a:gd name="T71" fmla="*/ 54 h 72"/>
                  <a:gd name="T72" fmla="*/ 1 w 32"/>
                  <a:gd name="T73" fmla="*/ 54 h 72"/>
                  <a:gd name="T74" fmla="*/ 3 w 32"/>
                  <a:gd name="T75" fmla="*/ 54 h 72"/>
                  <a:gd name="T76" fmla="*/ 1 w 32"/>
                  <a:gd name="T77" fmla="*/ 48 h 72"/>
                  <a:gd name="T78" fmla="*/ 1 w 32"/>
                  <a:gd name="T79" fmla="*/ 45 h 72"/>
                  <a:gd name="T80" fmla="*/ 3 w 32"/>
                  <a:gd name="T81" fmla="*/ 37 h 72"/>
                  <a:gd name="T82" fmla="*/ 3 w 32"/>
                  <a:gd name="T83" fmla="*/ 32 h 72"/>
                  <a:gd name="T84" fmla="*/ 4 w 32"/>
                  <a:gd name="T85" fmla="*/ 26 h 72"/>
                  <a:gd name="T86" fmla="*/ 5 w 32"/>
                  <a:gd name="T87" fmla="*/ 25 h 72"/>
                  <a:gd name="T88" fmla="*/ 3 w 32"/>
                  <a:gd name="T89" fmla="*/ 19 h 72"/>
                  <a:gd name="T90" fmla="*/ 1 w 32"/>
                  <a:gd name="T91" fmla="*/ 18 h 72"/>
                  <a:gd name="T92" fmla="*/ 1 w 32"/>
                  <a:gd name="T93" fmla="*/ 15 h 72"/>
                  <a:gd name="T94" fmla="*/ 0 w 32"/>
                  <a:gd name="T95" fmla="*/ 12 h 72"/>
                  <a:gd name="T96" fmla="*/ 0 w 32"/>
                  <a:gd name="T97" fmla="*/ 9 h 72"/>
                  <a:gd name="T98" fmla="*/ 3 w 32"/>
                  <a:gd name="T99" fmla="*/ 5 h 72"/>
                  <a:gd name="T100" fmla="*/ 5 w 32"/>
                  <a:gd name="T101" fmla="*/ 2 h 72"/>
                  <a:gd name="T102" fmla="*/ 7 w 32"/>
                  <a:gd name="T103" fmla="*/ 0 h 72"/>
                  <a:gd name="T104" fmla="*/ 8 w 32"/>
                  <a:gd name="T105" fmla="*/ 1 h 72"/>
                  <a:gd name="T106" fmla="*/ 8 w 32"/>
                  <a:gd name="T107" fmla="*/ 4 h 72"/>
                  <a:gd name="T108" fmla="*/ 10 w 32"/>
                  <a:gd name="T109" fmla="*/ 4 h 72"/>
                  <a:gd name="T110" fmla="*/ 14 w 32"/>
                  <a:gd name="T111" fmla="*/ 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2" h="72">
                    <a:moveTo>
                      <a:pt x="14" y="2"/>
                    </a:moveTo>
                    <a:lnTo>
                      <a:pt x="14" y="2"/>
                    </a:lnTo>
                    <a:lnTo>
                      <a:pt x="16" y="5"/>
                    </a:lnTo>
                    <a:lnTo>
                      <a:pt x="16" y="8"/>
                    </a:lnTo>
                    <a:lnTo>
                      <a:pt x="19" y="8"/>
                    </a:lnTo>
                    <a:lnTo>
                      <a:pt x="19" y="9"/>
                    </a:lnTo>
                    <a:lnTo>
                      <a:pt x="21" y="11"/>
                    </a:lnTo>
                    <a:lnTo>
                      <a:pt x="22" y="12"/>
                    </a:lnTo>
                    <a:lnTo>
                      <a:pt x="23" y="15"/>
                    </a:lnTo>
                    <a:lnTo>
                      <a:pt x="23" y="18"/>
                    </a:lnTo>
                    <a:lnTo>
                      <a:pt x="22" y="19"/>
                    </a:lnTo>
                    <a:lnTo>
                      <a:pt x="22" y="19"/>
                    </a:lnTo>
                    <a:lnTo>
                      <a:pt x="22" y="23"/>
                    </a:lnTo>
                    <a:lnTo>
                      <a:pt x="22" y="25"/>
                    </a:lnTo>
                    <a:lnTo>
                      <a:pt x="22" y="26"/>
                    </a:lnTo>
                    <a:lnTo>
                      <a:pt x="21" y="26"/>
                    </a:lnTo>
                    <a:lnTo>
                      <a:pt x="21" y="27"/>
                    </a:lnTo>
                    <a:lnTo>
                      <a:pt x="22" y="30"/>
                    </a:lnTo>
                    <a:lnTo>
                      <a:pt x="21" y="32"/>
                    </a:lnTo>
                    <a:lnTo>
                      <a:pt x="21" y="33"/>
                    </a:lnTo>
                    <a:lnTo>
                      <a:pt x="22" y="37"/>
                    </a:lnTo>
                    <a:lnTo>
                      <a:pt x="23" y="39"/>
                    </a:lnTo>
                    <a:lnTo>
                      <a:pt x="25" y="39"/>
                    </a:lnTo>
                    <a:lnTo>
                      <a:pt x="25" y="41"/>
                    </a:lnTo>
                    <a:lnTo>
                      <a:pt x="26" y="43"/>
                    </a:lnTo>
                    <a:lnTo>
                      <a:pt x="28" y="41"/>
                    </a:lnTo>
                    <a:lnTo>
                      <a:pt x="29" y="43"/>
                    </a:lnTo>
                    <a:lnTo>
                      <a:pt x="30" y="43"/>
                    </a:lnTo>
                    <a:lnTo>
                      <a:pt x="30" y="44"/>
                    </a:lnTo>
                    <a:lnTo>
                      <a:pt x="30" y="45"/>
                    </a:lnTo>
                    <a:lnTo>
                      <a:pt x="30" y="47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0" y="50"/>
                    </a:lnTo>
                    <a:lnTo>
                      <a:pt x="29" y="52"/>
                    </a:lnTo>
                    <a:lnTo>
                      <a:pt x="29" y="52"/>
                    </a:lnTo>
                    <a:lnTo>
                      <a:pt x="28" y="52"/>
                    </a:lnTo>
                    <a:lnTo>
                      <a:pt x="26" y="54"/>
                    </a:lnTo>
                    <a:lnTo>
                      <a:pt x="26" y="55"/>
                    </a:lnTo>
                    <a:lnTo>
                      <a:pt x="25" y="57"/>
                    </a:lnTo>
                    <a:lnTo>
                      <a:pt x="25" y="58"/>
                    </a:lnTo>
                    <a:lnTo>
                      <a:pt x="25" y="59"/>
                    </a:lnTo>
                    <a:lnTo>
                      <a:pt x="25" y="61"/>
                    </a:lnTo>
                    <a:lnTo>
                      <a:pt x="23" y="62"/>
                    </a:lnTo>
                    <a:lnTo>
                      <a:pt x="22" y="62"/>
                    </a:lnTo>
                    <a:lnTo>
                      <a:pt x="21" y="62"/>
                    </a:lnTo>
                    <a:lnTo>
                      <a:pt x="19" y="62"/>
                    </a:lnTo>
                    <a:lnTo>
                      <a:pt x="19" y="64"/>
                    </a:lnTo>
                    <a:lnTo>
                      <a:pt x="19" y="64"/>
                    </a:lnTo>
                    <a:lnTo>
                      <a:pt x="18" y="64"/>
                    </a:lnTo>
                    <a:lnTo>
                      <a:pt x="18" y="65"/>
                    </a:lnTo>
                    <a:lnTo>
                      <a:pt x="19" y="66"/>
                    </a:lnTo>
                    <a:lnTo>
                      <a:pt x="19" y="68"/>
                    </a:lnTo>
                    <a:lnTo>
                      <a:pt x="19" y="68"/>
                    </a:lnTo>
                    <a:lnTo>
                      <a:pt x="19" y="69"/>
                    </a:lnTo>
                    <a:lnTo>
                      <a:pt x="18" y="68"/>
                    </a:lnTo>
                    <a:lnTo>
                      <a:pt x="18" y="69"/>
                    </a:lnTo>
                    <a:lnTo>
                      <a:pt x="18" y="69"/>
                    </a:lnTo>
                    <a:lnTo>
                      <a:pt x="18" y="71"/>
                    </a:lnTo>
                    <a:lnTo>
                      <a:pt x="16" y="71"/>
                    </a:lnTo>
                    <a:lnTo>
                      <a:pt x="16" y="72"/>
                    </a:lnTo>
                    <a:lnTo>
                      <a:pt x="15" y="72"/>
                    </a:lnTo>
                    <a:lnTo>
                      <a:pt x="14" y="71"/>
                    </a:lnTo>
                    <a:lnTo>
                      <a:pt x="12" y="71"/>
                    </a:lnTo>
                    <a:lnTo>
                      <a:pt x="12" y="71"/>
                    </a:lnTo>
                    <a:lnTo>
                      <a:pt x="12" y="68"/>
                    </a:lnTo>
                    <a:lnTo>
                      <a:pt x="12" y="66"/>
                    </a:lnTo>
                    <a:lnTo>
                      <a:pt x="10" y="62"/>
                    </a:lnTo>
                    <a:lnTo>
                      <a:pt x="3" y="58"/>
                    </a:lnTo>
                    <a:lnTo>
                      <a:pt x="1" y="57"/>
                    </a:lnTo>
                    <a:lnTo>
                      <a:pt x="1" y="55"/>
                    </a:lnTo>
                    <a:lnTo>
                      <a:pt x="0" y="54"/>
                    </a:lnTo>
                    <a:lnTo>
                      <a:pt x="1" y="54"/>
                    </a:lnTo>
                    <a:lnTo>
                      <a:pt x="1" y="54"/>
                    </a:lnTo>
                    <a:lnTo>
                      <a:pt x="3" y="55"/>
                    </a:lnTo>
                    <a:lnTo>
                      <a:pt x="3" y="54"/>
                    </a:lnTo>
                    <a:lnTo>
                      <a:pt x="3" y="52"/>
                    </a:lnTo>
                    <a:lnTo>
                      <a:pt x="1" y="48"/>
                    </a:lnTo>
                    <a:lnTo>
                      <a:pt x="0" y="48"/>
                    </a:lnTo>
                    <a:lnTo>
                      <a:pt x="1" y="45"/>
                    </a:lnTo>
                    <a:lnTo>
                      <a:pt x="3" y="41"/>
                    </a:lnTo>
                    <a:lnTo>
                      <a:pt x="3" y="37"/>
                    </a:lnTo>
                    <a:lnTo>
                      <a:pt x="3" y="34"/>
                    </a:lnTo>
                    <a:lnTo>
                      <a:pt x="3" y="32"/>
                    </a:lnTo>
                    <a:lnTo>
                      <a:pt x="3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5" y="25"/>
                    </a:lnTo>
                    <a:lnTo>
                      <a:pt x="5" y="20"/>
                    </a:lnTo>
                    <a:lnTo>
                      <a:pt x="3" y="19"/>
                    </a:lnTo>
                    <a:lnTo>
                      <a:pt x="1" y="19"/>
                    </a:lnTo>
                    <a:lnTo>
                      <a:pt x="1" y="18"/>
                    </a:lnTo>
                    <a:lnTo>
                      <a:pt x="1" y="16"/>
                    </a:lnTo>
                    <a:lnTo>
                      <a:pt x="1" y="15"/>
                    </a:lnTo>
                    <a:lnTo>
                      <a:pt x="1" y="13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1" y="8"/>
                    </a:lnTo>
                    <a:lnTo>
                      <a:pt x="3" y="5"/>
                    </a:lnTo>
                    <a:lnTo>
                      <a:pt x="4" y="4"/>
                    </a:lnTo>
                    <a:lnTo>
                      <a:pt x="5" y="2"/>
                    </a:lnTo>
                    <a:lnTo>
                      <a:pt x="7" y="1"/>
                    </a:lnTo>
                    <a:lnTo>
                      <a:pt x="7" y="0"/>
                    </a:lnTo>
                    <a:lnTo>
                      <a:pt x="8" y="0"/>
                    </a:lnTo>
                    <a:lnTo>
                      <a:pt x="8" y="1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11" y="4"/>
                    </a:lnTo>
                    <a:lnTo>
                      <a:pt x="14" y="2"/>
                    </a:lnTo>
                    <a:lnTo>
                      <a:pt x="14" y="2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39" name="Austria">
                <a:extLst>
                  <a:ext uri="{FF2B5EF4-FFF2-40B4-BE49-F238E27FC236}">
                    <a16:creationId xmlns:a16="http://schemas.microsoft.com/office/drawing/2014/main" id="{193D2F0A-E16F-3B73-FB91-FCA9910764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2157" y="2730925"/>
                <a:ext cx="107929" cy="54747"/>
              </a:xfrm>
              <a:custGeom>
                <a:avLst/>
                <a:gdLst>
                  <a:gd name="T0" fmla="*/ 132 w 138"/>
                  <a:gd name="T1" fmla="*/ 15 h 70"/>
                  <a:gd name="T2" fmla="*/ 138 w 138"/>
                  <a:gd name="T3" fmla="*/ 27 h 70"/>
                  <a:gd name="T4" fmla="*/ 136 w 138"/>
                  <a:gd name="T5" fmla="*/ 32 h 70"/>
                  <a:gd name="T6" fmla="*/ 132 w 138"/>
                  <a:gd name="T7" fmla="*/ 35 h 70"/>
                  <a:gd name="T8" fmla="*/ 127 w 138"/>
                  <a:gd name="T9" fmla="*/ 34 h 70"/>
                  <a:gd name="T10" fmla="*/ 128 w 138"/>
                  <a:gd name="T11" fmla="*/ 38 h 70"/>
                  <a:gd name="T12" fmla="*/ 127 w 138"/>
                  <a:gd name="T13" fmla="*/ 43 h 70"/>
                  <a:gd name="T14" fmla="*/ 124 w 138"/>
                  <a:gd name="T15" fmla="*/ 47 h 70"/>
                  <a:gd name="T16" fmla="*/ 125 w 138"/>
                  <a:gd name="T17" fmla="*/ 52 h 70"/>
                  <a:gd name="T18" fmla="*/ 121 w 138"/>
                  <a:gd name="T19" fmla="*/ 54 h 70"/>
                  <a:gd name="T20" fmla="*/ 117 w 138"/>
                  <a:gd name="T21" fmla="*/ 61 h 70"/>
                  <a:gd name="T22" fmla="*/ 109 w 138"/>
                  <a:gd name="T23" fmla="*/ 63 h 70"/>
                  <a:gd name="T24" fmla="*/ 97 w 138"/>
                  <a:gd name="T25" fmla="*/ 64 h 70"/>
                  <a:gd name="T26" fmla="*/ 92 w 138"/>
                  <a:gd name="T27" fmla="*/ 68 h 70"/>
                  <a:gd name="T28" fmla="*/ 88 w 138"/>
                  <a:gd name="T29" fmla="*/ 68 h 70"/>
                  <a:gd name="T30" fmla="*/ 78 w 138"/>
                  <a:gd name="T31" fmla="*/ 67 h 70"/>
                  <a:gd name="T32" fmla="*/ 65 w 138"/>
                  <a:gd name="T33" fmla="*/ 66 h 70"/>
                  <a:gd name="T34" fmla="*/ 51 w 138"/>
                  <a:gd name="T35" fmla="*/ 61 h 70"/>
                  <a:gd name="T36" fmla="*/ 47 w 138"/>
                  <a:gd name="T37" fmla="*/ 53 h 70"/>
                  <a:gd name="T38" fmla="*/ 40 w 138"/>
                  <a:gd name="T39" fmla="*/ 54 h 70"/>
                  <a:gd name="T40" fmla="*/ 30 w 138"/>
                  <a:gd name="T41" fmla="*/ 54 h 70"/>
                  <a:gd name="T42" fmla="*/ 25 w 138"/>
                  <a:gd name="T43" fmla="*/ 60 h 70"/>
                  <a:gd name="T44" fmla="*/ 17 w 138"/>
                  <a:gd name="T45" fmla="*/ 57 h 70"/>
                  <a:gd name="T46" fmla="*/ 11 w 138"/>
                  <a:gd name="T47" fmla="*/ 57 h 70"/>
                  <a:gd name="T48" fmla="*/ 5 w 138"/>
                  <a:gd name="T49" fmla="*/ 53 h 70"/>
                  <a:gd name="T50" fmla="*/ 1 w 138"/>
                  <a:gd name="T51" fmla="*/ 50 h 70"/>
                  <a:gd name="T52" fmla="*/ 0 w 138"/>
                  <a:gd name="T53" fmla="*/ 47 h 70"/>
                  <a:gd name="T54" fmla="*/ 0 w 138"/>
                  <a:gd name="T55" fmla="*/ 40 h 70"/>
                  <a:gd name="T56" fmla="*/ 3 w 138"/>
                  <a:gd name="T57" fmla="*/ 38 h 70"/>
                  <a:gd name="T58" fmla="*/ 10 w 138"/>
                  <a:gd name="T59" fmla="*/ 42 h 70"/>
                  <a:gd name="T60" fmla="*/ 11 w 138"/>
                  <a:gd name="T61" fmla="*/ 45 h 70"/>
                  <a:gd name="T62" fmla="*/ 15 w 138"/>
                  <a:gd name="T63" fmla="*/ 42 h 70"/>
                  <a:gd name="T64" fmla="*/ 21 w 138"/>
                  <a:gd name="T65" fmla="*/ 39 h 70"/>
                  <a:gd name="T66" fmla="*/ 26 w 138"/>
                  <a:gd name="T67" fmla="*/ 43 h 70"/>
                  <a:gd name="T68" fmla="*/ 32 w 138"/>
                  <a:gd name="T69" fmla="*/ 42 h 70"/>
                  <a:gd name="T70" fmla="*/ 39 w 138"/>
                  <a:gd name="T71" fmla="*/ 38 h 70"/>
                  <a:gd name="T72" fmla="*/ 49 w 138"/>
                  <a:gd name="T73" fmla="*/ 35 h 70"/>
                  <a:gd name="T74" fmla="*/ 56 w 138"/>
                  <a:gd name="T75" fmla="*/ 36 h 70"/>
                  <a:gd name="T76" fmla="*/ 58 w 138"/>
                  <a:gd name="T77" fmla="*/ 39 h 70"/>
                  <a:gd name="T78" fmla="*/ 63 w 138"/>
                  <a:gd name="T79" fmla="*/ 40 h 70"/>
                  <a:gd name="T80" fmla="*/ 61 w 138"/>
                  <a:gd name="T81" fmla="*/ 35 h 70"/>
                  <a:gd name="T82" fmla="*/ 60 w 138"/>
                  <a:gd name="T83" fmla="*/ 28 h 70"/>
                  <a:gd name="T84" fmla="*/ 64 w 138"/>
                  <a:gd name="T85" fmla="*/ 20 h 70"/>
                  <a:gd name="T86" fmla="*/ 69 w 138"/>
                  <a:gd name="T87" fmla="*/ 17 h 70"/>
                  <a:gd name="T88" fmla="*/ 75 w 138"/>
                  <a:gd name="T89" fmla="*/ 13 h 70"/>
                  <a:gd name="T90" fmla="*/ 76 w 138"/>
                  <a:gd name="T91" fmla="*/ 7 h 70"/>
                  <a:gd name="T92" fmla="*/ 82 w 138"/>
                  <a:gd name="T93" fmla="*/ 10 h 70"/>
                  <a:gd name="T94" fmla="*/ 90 w 138"/>
                  <a:gd name="T95" fmla="*/ 10 h 70"/>
                  <a:gd name="T96" fmla="*/ 97 w 138"/>
                  <a:gd name="T97" fmla="*/ 6 h 70"/>
                  <a:gd name="T98" fmla="*/ 102 w 138"/>
                  <a:gd name="T99" fmla="*/ 0 h 70"/>
                  <a:gd name="T100" fmla="*/ 106 w 138"/>
                  <a:gd name="T101" fmla="*/ 0 h 70"/>
                  <a:gd name="T102" fmla="*/ 118 w 138"/>
                  <a:gd name="T103" fmla="*/ 6 h 70"/>
                  <a:gd name="T104" fmla="*/ 127 w 138"/>
                  <a:gd name="T105" fmla="*/ 6 h 70"/>
                  <a:gd name="T106" fmla="*/ 132 w 138"/>
                  <a:gd name="T107" fmla="*/ 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8" h="70">
                    <a:moveTo>
                      <a:pt x="134" y="11"/>
                    </a:moveTo>
                    <a:lnTo>
                      <a:pt x="134" y="11"/>
                    </a:lnTo>
                    <a:lnTo>
                      <a:pt x="134" y="11"/>
                    </a:lnTo>
                    <a:lnTo>
                      <a:pt x="134" y="13"/>
                    </a:lnTo>
                    <a:lnTo>
                      <a:pt x="132" y="15"/>
                    </a:lnTo>
                    <a:lnTo>
                      <a:pt x="132" y="17"/>
                    </a:lnTo>
                    <a:lnTo>
                      <a:pt x="135" y="21"/>
                    </a:lnTo>
                    <a:lnTo>
                      <a:pt x="136" y="25"/>
                    </a:lnTo>
                    <a:lnTo>
                      <a:pt x="136" y="25"/>
                    </a:lnTo>
                    <a:lnTo>
                      <a:pt x="138" y="27"/>
                    </a:lnTo>
                    <a:lnTo>
                      <a:pt x="136" y="28"/>
                    </a:lnTo>
                    <a:lnTo>
                      <a:pt x="136" y="29"/>
                    </a:lnTo>
                    <a:lnTo>
                      <a:pt x="136" y="31"/>
                    </a:lnTo>
                    <a:lnTo>
                      <a:pt x="135" y="31"/>
                    </a:lnTo>
                    <a:lnTo>
                      <a:pt x="136" y="32"/>
                    </a:lnTo>
                    <a:lnTo>
                      <a:pt x="136" y="34"/>
                    </a:lnTo>
                    <a:lnTo>
                      <a:pt x="136" y="35"/>
                    </a:lnTo>
                    <a:lnTo>
                      <a:pt x="135" y="35"/>
                    </a:lnTo>
                    <a:lnTo>
                      <a:pt x="132" y="35"/>
                    </a:lnTo>
                    <a:lnTo>
                      <a:pt x="132" y="35"/>
                    </a:lnTo>
                    <a:lnTo>
                      <a:pt x="131" y="35"/>
                    </a:lnTo>
                    <a:lnTo>
                      <a:pt x="131" y="35"/>
                    </a:lnTo>
                    <a:lnTo>
                      <a:pt x="128" y="34"/>
                    </a:lnTo>
                    <a:lnTo>
                      <a:pt x="128" y="34"/>
                    </a:lnTo>
                    <a:lnTo>
                      <a:pt x="127" y="34"/>
                    </a:lnTo>
                    <a:lnTo>
                      <a:pt x="127" y="35"/>
                    </a:lnTo>
                    <a:lnTo>
                      <a:pt x="125" y="35"/>
                    </a:lnTo>
                    <a:lnTo>
                      <a:pt x="124" y="36"/>
                    </a:lnTo>
                    <a:lnTo>
                      <a:pt x="125" y="36"/>
                    </a:lnTo>
                    <a:lnTo>
                      <a:pt x="128" y="38"/>
                    </a:lnTo>
                    <a:lnTo>
                      <a:pt x="129" y="39"/>
                    </a:lnTo>
                    <a:lnTo>
                      <a:pt x="128" y="40"/>
                    </a:lnTo>
                    <a:lnTo>
                      <a:pt x="128" y="42"/>
                    </a:lnTo>
                    <a:lnTo>
                      <a:pt x="127" y="42"/>
                    </a:lnTo>
                    <a:lnTo>
                      <a:pt x="127" y="43"/>
                    </a:lnTo>
                    <a:lnTo>
                      <a:pt x="125" y="43"/>
                    </a:lnTo>
                    <a:lnTo>
                      <a:pt x="125" y="43"/>
                    </a:lnTo>
                    <a:lnTo>
                      <a:pt x="125" y="46"/>
                    </a:lnTo>
                    <a:lnTo>
                      <a:pt x="125" y="47"/>
                    </a:lnTo>
                    <a:lnTo>
                      <a:pt x="124" y="47"/>
                    </a:lnTo>
                    <a:lnTo>
                      <a:pt x="125" y="50"/>
                    </a:lnTo>
                    <a:lnTo>
                      <a:pt x="125" y="50"/>
                    </a:lnTo>
                    <a:lnTo>
                      <a:pt x="125" y="50"/>
                    </a:lnTo>
                    <a:lnTo>
                      <a:pt x="125" y="52"/>
                    </a:lnTo>
                    <a:lnTo>
                      <a:pt x="125" y="52"/>
                    </a:lnTo>
                    <a:lnTo>
                      <a:pt x="125" y="53"/>
                    </a:lnTo>
                    <a:lnTo>
                      <a:pt x="125" y="53"/>
                    </a:lnTo>
                    <a:lnTo>
                      <a:pt x="124" y="54"/>
                    </a:lnTo>
                    <a:lnTo>
                      <a:pt x="122" y="53"/>
                    </a:lnTo>
                    <a:lnTo>
                      <a:pt x="121" y="54"/>
                    </a:lnTo>
                    <a:lnTo>
                      <a:pt x="118" y="57"/>
                    </a:lnTo>
                    <a:lnTo>
                      <a:pt x="117" y="57"/>
                    </a:lnTo>
                    <a:lnTo>
                      <a:pt x="117" y="59"/>
                    </a:lnTo>
                    <a:lnTo>
                      <a:pt x="117" y="61"/>
                    </a:lnTo>
                    <a:lnTo>
                      <a:pt x="117" y="61"/>
                    </a:lnTo>
                    <a:lnTo>
                      <a:pt x="115" y="63"/>
                    </a:lnTo>
                    <a:lnTo>
                      <a:pt x="113" y="61"/>
                    </a:lnTo>
                    <a:lnTo>
                      <a:pt x="113" y="61"/>
                    </a:lnTo>
                    <a:lnTo>
                      <a:pt x="110" y="61"/>
                    </a:lnTo>
                    <a:lnTo>
                      <a:pt x="109" y="63"/>
                    </a:lnTo>
                    <a:lnTo>
                      <a:pt x="107" y="63"/>
                    </a:lnTo>
                    <a:lnTo>
                      <a:pt x="103" y="63"/>
                    </a:lnTo>
                    <a:lnTo>
                      <a:pt x="99" y="64"/>
                    </a:lnTo>
                    <a:lnTo>
                      <a:pt x="97" y="64"/>
                    </a:lnTo>
                    <a:lnTo>
                      <a:pt x="97" y="64"/>
                    </a:lnTo>
                    <a:lnTo>
                      <a:pt x="96" y="64"/>
                    </a:lnTo>
                    <a:lnTo>
                      <a:pt x="95" y="66"/>
                    </a:lnTo>
                    <a:lnTo>
                      <a:pt x="95" y="67"/>
                    </a:lnTo>
                    <a:lnTo>
                      <a:pt x="93" y="68"/>
                    </a:lnTo>
                    <a:lnTo>
                      <a:pt x="92" y="68"/>
                    </a:lnTo>
                    <a:lnTo>
                      <a:pt x="90" y="70"/>
                    </a:lnTo>
                    <a:lnTo>
                      <a:pt x="90" y="70"/>
                    </a:lnTo>
                    <a:lnTo>
                      <a:pt x="89" y="70"/>
                    </a:lnTo>
                    <a:lnTo>
                      <a:pt x="89" y="70"/>
                    </a:lnTo>
                    <a:lnTo>
                      <a:pt x="88" y="68"/>
                    </a:lnTo>
                    <a:lnTo>
                      <a:pt x="85" y="68"/>
                    </a:lnTo>
                    <a:lnTo>
                      <a:pt x="82" y="68"/>
                    </a:lnTo>
                    <a:lnTo>
                      <a:pt x="81" y="67"/>
                    </a:lnTo>
                    <a:lnTo>
                      <a:pt x="79" y="67"/>
                    </a:lnTo>
                    <a:lnTo>
                      <a:pt x="78" y="67"/>
                    </a:lnTo>
                    <a:lnTo>
                      <a:pt x="76" y="67"/>
                    </a:lnTo>
                    <a:lnTo>
                      <a:pt x="75" y="67"/>
                    </a:lnTo>
                    <a:lnTo>
                      <a:pt x="71" y="66"/>
                    </a:lnTo>
                    <a:lnTo>
                      <a:pt x="68" y="66"/>
                    </a:lnTo>
                    <a:lnTo>
                      <a:pt x="65" y="66"/>
                    </a:lnTo>
                    <a:lnTo>
                      <a:pt x="58" y="64"/>
                    </a:lnTo>
                    <a:lnTo>
                      <a:pt x="57" y="63"/>
                    </a:lnTo>
                    <a:lnTo>
                      <a:pt x="56" y="63"/>
                    </a:lnTo>
                    <a:lnTo>
                      <a:pt x="53" y="63"/>
                    </a:lnTo>
                    <a:lnTo>
                      <a:pt x="51" y="61"/>
                    </a:lnTo>
                    <a:lnTo>
                      <a:pt x="50" y="60"/>
                    </a:lnTo>
                    <a:lnTo>
                      <a:pt x="49" y="59"/>
                    </a:lnTo>
                    <a:lnTo>
                      <a:pt x="47" y="56"/>
                    </a:lnTo>
                    <a:lnTo>
                      <a:pt x="47" y="54"/>
                    </a:lnTo>
                    <a:lnTo>
                      <a:pt x="47" y="53"/>
                    </a:lnTo>
                    <a:lnTo>
                      <a:pt x="47" y="52"/>
                    </a:lnTo>
                    <a:lnTo>
                      <a:pt x="47" y="52"/>
                    </a:lnTo>
                    <a:lnTo>
                      <a:pt x="47" y="52"/>
                    </a:lnTo>
                    <a:lnTo>
                      <a:pt x="43" y="53"/>
                    </a:lnTo>
                    <a:lnTo>
                      <a:pt x="40" y="54"/>
                    </a:lnTo>
                    <a:lnTo>
                      <a:pt x="39" y="54"/>
                    </a:lnTo>
                    <a:lnTo>
                      <a:pt x="37" y="54"/>
                    </a:lnTo>
                    <a:lnTo>
                      <a:pt x="36" y="54"/>
                    </a:lnTo>
                    <a:lnTo>
                      <a:pt x="33" y="54"/>
                    </a:lnTo>
                    <a:lnTo>
                      <a:pt x="30" y="54"/>
                    </a:lnTo>
                    <a:lnTo>
                      <a:pt x="29" y="56"/>
                    </a:lnTo>
                    <a:lnTo>
                      <a:pt x="28" y="57"/>
                    </a:lnTo>
                    <a:lnTo>
                      <a:pt x="26" y="59"/>
                    </a:lnTo>
                    <a:lnTo>
                      <a:pt x="26" y="60"/>
                    </a:lnTo>
                    <a:lnTo>
                      <a:pt x="25" y="60"/>
                    </a:lnTo>
                    <a:lnTo>
                      <a:pt x="24" y="60"/>
                    </a:lnTo>
                    <a:lnTo>
                      <a:pt x="22" y="59"/>
                    </a:lnTo>
                    <a:lnTo>
                      <a:pt x="21" y="57"/>
                    </a:lnTo>
                    <a:lnTo>
                      <a:pt x="18" y="57"/>
                    </a:lnTo>
                    <a:lnTo>
                      <a:pt x="17" y="57"/>
                    </a:lnTo>
                    <a:lnTo>
                      <a:pt x="17" y="57"/>
                    </a:lnTo>
                    <a:lnTo>
                      <a:pt x="17" y="56"/>
                    </a:lnTo>
                    <a:lnTo>
                      <a:pt x="15" y="54"/>
                    </a:lnTo>
                    <a:lnTo>
                      <a:pt x="14" y="54"/>
                    </a:lnTo>
                    <a:lnTo>
                      <a:pt x="11" y="57"/>
                    </a:lnTo>
                    <a:lnTo>
                      <a:pt x="10" y="57"/>
                    </a:lnTo>
                    <a:lnTo>
                      <a:pt x="8" y="57"/>
                    </a:lnTo>
                    <a:lnTo>
                      <a:pt x="5" y="56"/>
                    </a:lnTo>
                    <a:lnTo>
                      <a:pt x="5" y="54"/>
                    </a:lnTo>
                    <a:lnTo>
                      <a:pt x="5" y="53"/>
                    </a:lnTo>
                    <a:lnTo>
                      <a:pt x="3" y="53"/>
                    </a:lnTo>
                    <a:lnTo>
                      <a:pt x="1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1" y="50"/>
                    </a:lnTo>
                    <a:lnTo>
                      <a:pt x="1" y="50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0" y="46"/>
                    </a:lnTo>
                    <a:lnTo>
                      <a:pt x="1" y="43"/>
                    </a:lnTo>
                    <a:lnTo>
                      <a:pt x="1" y="42"/>
                    </a:lnTo>
                    <a:lnTo>
                      <a:pt x="0" y="40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1" y="39"/>
                    </a:lnTo>
                    <a:lnTo>
                      <a:pt x="3" y="39"/>
                    </a:lnTo>
                    <a:lnTo>
                      <a:pt x="3" y="38"/>
                    </a:lnTo>
                    <a:lnTo>
                      <a:pt x="5" y="39"/>
                    </a:lnTo>
                    <a:lnTo>
                      <a:pt x="7" y="40"/>
                    </a:lnTo>
                    <a:lnTo>
                      <a:pt x="8" y="40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3"/>
                    </a:lnTo>
                    <a:lnTo>
                      <a:pt x="10" y="43"/>
                    </a:lnTo>
                    <a:lnTo>
                      <a:pt x="11" y="43"/>
                    </a:lnTo>
                    <a:lnTo>
                      <a:pt x="11" y="45"/>
                    </a:lnTo>
                    <a:lnTo>
                      <a:pt x="11" y="45"/>
                    </a:lnTo>
                    <a:lnTo>
                      <a:pt x="11" y="46"/>
                    </a:lnTo>
                    <a:lnTo>
                      <a:pt x="12" y="46"/>
                    </a:lnTo>
                    <a:lnTo>
                      <a:pt x="14" y="45"/>
                    </a:lnTo>
                    <a:lnTo>
                      <a:pt x="15" y="43"/>
                    </a:lnTo>
                    <a:lnTo>
                      <a:pt x="15" y="42"/>
                    </a:lnTo>
                    <a:lnTo>
                      <a:pt x="15" y="39"/>
                    </a:lnTo>
                    <a:lnTo>
                      <a:pt x="15" y="39"/>
                    </a:lnTo>
                    <a:lnTo>
                      <a:pt x="17" y="39"/>
                    </a:lnTo>
                    <a:lnTo>
                      <a:pt x="19" y="39"/>
                    </a:lnTo>
                    <a:lnTo>
                      <a:pt x="21" y="39"/>
                    </a:lnTo>
                    <a:lnTo>
                      <a:pt x="24" y="39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5" y="42"/>
                    </a:lnTo>
                    <a:lnTo>
                      <a:pt x="26" y="43"/>
                    </a:lnTo>
                    <a:lnTo>
                      <a:pt x="26" y="43"/>
                    </a:lnTo>
                    <a:lnTo>
                      <a:pt x="29" y="43"/>
                    </a:lnTo>
                    <a:lnTo>
                      <a:pt x="29" y="42"/>
                    </a:lnTo>
                    <a:lnTo>
                      <a:pt x="30" y="43"/>
                    </a:lnTo>
                    <a:lnTo>
                      <a:pt x="32" y="42"/>
                    </a:lnTo>
                    <a:lnTo>
                      <a:pt x="33" y="42"/>
                    </a:lnTo>
                    <a:lnTo>
                      <a:pt x="33" y="40"/>
                    </a:lnTo>
                    <a:lnTo>
                      <a:pt x="35" y="40"/>
                    </a:lnTo>
                    <a:lnTo>
                      <a:pt x="36" y="39"/>
                    </a:lnTo>
                    <a:lnTo>
                      <a:pt x="39" y="38"/>
                    </a:lnTo>
                    <a:lnTo>
                      <a:pt x="47" y="38"/>
                    </a:lnTo>
                    <a:lnTo>
                      <a:pt x="47" y="36"/>
                    </a:lnTo>
                    <a:lnTo>
                      <a:pt x="47" y="35"/>
                    </a:lnTo>
                    <a:lnTo>
                      <a:pt x="49" y="35"/>
                    </a:lnTo>
                    <a:lnTo>
                      <a:pt x="49" y="35"/>
                    </a:lnTo>
                    <a:lnTo>
                      <a:pt x="51" y="35"/>
                    </a:lnTo>
                    <a:lnTo>
                      <a:pt x="51" y="36"/>
                    </a:lnTo>
                    <a:lnTo>
                      <a:pt x="53" y="36"/>
                    </a:lnTo>
                    <a:lnTo>
                      <a:pt x="54" y="36"/>
                    </a:lnTo>
                    <a:lnTo>
                      <a:pt x="56" y="36"/>
                    </a:lnTo>
                    <a:lnTo>
                      <a:pt x="57" y="36"/>
                    </a:lnTo>
                    <a:lnTo>
                      <a:pt x="58" y="36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8" y="39"/>
                    </a:lnTo>
                    <a:lnTo>
                      <a:pt x="58" y="39"/>
                    </a:lnTo>
                    <a:lnTo>
                      <a:pt x="60" y="40"/>
                    </a:lnTo>
                    <a:lnTo>
                      <a:pt x="61" y="40"/>
                    </a:lnTo>
                    <a:lnTo>
                      <a:pt x="63" y="40"/>
                    </a:lnTo>
                    <a:lnTo>
                      <a:pt x="63" y="40"/>
                    </a:lnTo>
                    <a:lnTo>
                      <a:pt x="63" y="38"/>
                    </a:lnTo>
                    <a:lnTo>
                      <a:pt x="64" y="36"/>
                    </a:lnTo>
                    <a:lnTo>
                      <a:pt x="63" y="35"/>
                    </a:lnTo>
                    <a:lnTo>
                      <a:pt x="63" y="35"/>
                    </a:lnTo>
                    <a:lnTo>
                      <a:pt x="61" y="35"/>
                    </a:lnTo>
                    <a:lnTo>
                      <a:pt x="61" y="35"/>
                    </a:lnTo>
                    <a:lnTo>
                      <a:pt x="61" y="34"/>
                    </a:lnTo>
                    <a:lnTo>
                      <a:pt x="61" y="32"/>
                    </a:lnTo>
                    <a:lnTo>
                      <a:pt x="61" y="29"/>
                    </a:lnTo>
                    <a:lnTo>
                      <a:pt x="60" y="28"/>
                    </a:lnTo>
                    <a:lnTo>
                      <a:pt x="58" y="25"/>
                    </a:lnTo>
                    <a:lnTo>
                      <a:pt x="58" y="24"/>
                    </a:lnTo>
                    <a:lnTo>
                      <a:pt x="58" y="22"/>
                    </a:lnTo>
                    <a:lnTo>
                      <a:pt x="61" y="21"/>
                    </a:lnTo>
                    <a:lnTo>
                      <a:pt x="64" y="20"/>
                    </a:lnTo>
                    <a:lnTo>
                      <a:pt x="65" y="20"/>
                    </a:lnTo>
                    <a:lnTo>
                      <a:pt x="67" y="18"/>
                    </a:lnTo>
                    <a:lnTo>
                      <a:pt x="68" y="18"/>
                    </a:lnTo>
                    <a:lnTo>
                      <a:pt x="69" y="17"/>
                    </a:lnTo>
                    <a:lnTo>
                      <a:pt x="69" y="17"/>
                    </a:lnTo>
                    <a:lnTo>
                      <a:pt x="71" y="11"/>
                    </a:lnTo>
                    <a:lnTo>
                      <a:pt x="71" y="11"/>
                    </a:lnTo>
                    <a:lnTo>
                      <a:pt x="71" y="11"/>
                    </a:lnTo>
                    <a:lnTo>
                      <a:pt x="75" y="13"/>
                    </a:lnTo>
                    <a:lnTo>
                      <a:pt x="75" y="13"/>
                    </a:lnTo>
                    <a:lnTo>
                      <a:pt x="75" y="13"/>
                    </a:lnTo>
                    <a:lnTo>
                      <a:pt x="76" y="11"/>
                    </a:lnTo>
                    <a:lnTo>
                      <a:pt x="76" y="10"/>
                    </a:lnTo>
                    <a:lnTo>
                      <a:pt x="76" y="8"/>
                    </a:lnTo>
                    <a:lnTo>
                      <a:pt x="76" y="7"/>
                    </a:lnTo>
                    <a:lnTo>
                      <a:pt x="76" y="6"/>
                    </a:lnTo>
                    <a:lnTo>
                      <a:pt x="78" y="6"/>
                    </a:lnTo>
                    <a:lnTo>
                      <a:pt x="79" y="7"/>
                    </a:lnTo>
                    <a:lnTo>
                      <a:pt x="81" y="8"/>
                    </a:lnTo>
                    <a:lnTo>
                      <a:pt x="82" y="10"/>
                    </a:lnTo>
                    <a:lnTo>
                      <a:pt x="83" y="11"/>
                    </a:lnTo>
                    <a:lnTo>
                      <a:pt x="88" y="11"/>
                    </a:lnTo>
                    <a:lnTo>
                      <a:pt x="89" y="10"/>
                    </a:lnTo>
                    <a:lnTo>
                      <a:pt x="89" y="10"/>
                    </a:lnTo>
                    <a:lnTo>
                      <a:pt x="90" y="10"/>
                    </a:lnTo>
                    <a:lnTo>
                      <a:pt x="93" y="11"/>
                    </a:lnTo>
                    <a:lnTo>
                      <a:pt x="93" y="8"/>
                    </a:lnTo>
                    <a:lnTo>
                      <a:pt x="95" y="7"/>
                    </a:lnTo>
                    <a:lnTo>
                      <a:pt x="96" y="6"/>
                    </a:lnTo>
                    <a:lnTo>
                      <a:pt x="97" y="6"/>
                    </a:lnTo>
                    <a:lnTo>
                      <a:pt x="97" y="4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100" y="0"/>
                    </a:lnTo>
                    <a:lnTo>
                      <a:pt x="102" y="0"/>
                    </a:lnTo>
                    <a:lnTo>
                      <a:pt x="102" y="1"/>
                    </a:lnTo>
                    <a:lnTo>
                      <a:pt x="103" y="1"/>
                    </a:lnTo>
                    <a:lnTo>
                      <a:pt x="103" y="0"/>
                    </a:lnTo>
                    <a:lnTo>
                      <a:pt x="104" y="0"/>
                    </a:lnTo>
                    <a:lnTo>
                      <a:pt x="106" y="0"/>
                    </a:lnTo>
                    <a:lnTo>
                      <a:pt x="110" y="3"/>
                    </a:lnTo>
                    <a:lnTo>
                      <a:pt x="111" y="3"/>
                    </a:lnTo>
                    <a:lnTo>
                      <a:pt x="113" y="3"/>
                    </a:lnTo>
                    <a:lnTo>
                      <a:pt x="114" y="3"/>
                    </a:lnTo>
                    <a:lnTo>
                      <a:pt x="118" y="6"/>
                    </a:lnTo>
                    <a:lnTo>
                      <a:pt x="121" y="7"/>
                    </a:lnTo>
                    <a:lnTo>
                      <a:pt x="124" y="7"/>
                    </a:lnTo>
                    <a:lnTo>
                      <a:pt x="124" y="6"/>
                    </a:lnTo>
                    <a:lnTo>
                      <a:pt x="125" y="6"/>
                    </a:lnTo>
                    <a:lnTo>
                      <a:pt x="127" y="6"/>
                    </a:lnTo>
                    <a:lnTo>
                      <a:pt x="128" y="6"/>
                    </a:lnTo>
                    <a:lnTo>
                      <a:pt x="129" y="7"/>
                    </a:lnTo>
                    <a:lnTo>
                      <a:pt x="131" y="7"/>
                    </a:lnTo>
                    <a:lnTo>
                      <a:pt x="132" y="7"/>
                    </a:lnTo>
                    <a:lnTo>
                      <a:pt x="132" y="7"/>
                    </a:lnTo>
                    <a:lnTo>
                      <a:pt x="134" y="10"/>
                    </a:lnTo>
                    <a:lnTo>
                      <a:pt x="134" y="11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40" name="Aland Islands">
                <a:extLst>
                  <a:ext uri="{FF2B5EF4-FFF2-40B4-BE49-F238E27FC236}">
                    <a16:creationId xmlns:a16="http://schemas.microsoft.com/office/drawing/2014/main" id="{9EC27979-C52F-25B9-7272-0C4B6A1F03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03716" y="2448589"/>
                <a:ext cx="14860" cy="10949"/>
              </a:xfrm>
              <a:custGeom>
                <a:avLst/>
                <a:gdLst>
                  <a:gd name="T0" fmla="*/ 8 w 19"/>
                  <a:gd name="T1" fmla="*/ 2 h 14"/>
                  <a:gd name="T2" fmla="*/ 8 w 19"/>
                  <a:gd name="T3" fmla="*/ 2 h 14"/>
                  <a:gd name="T4" fmla="*/ 10 w 19"/>
                  <a:gd name="T5" fmla="*/ 2 h 14"/>
                  <a:gd name="T6" fmla="*/ 10 w 19"/>
                  <a:gd name="T7" fmla="*/ 2 h 14"/>
                  <a:gd name="T8" fmla="*/ 11 w 19"/>
                  <a:gd name="T9" fmla="*/ 3 h 14"/>
                  <a:gd name="T10" fmla="*/ 11 w 19"/>
                  <a:gd name="T11" fmla="*/ 4 h 14"/>
                  <a:gd name="T12" fmla="*/ 12 w 19"/>
                  <a:gd name="T13" fmla="*/ 4 h 14"/>
                  <a:gd name="T14" fmla="*/ 12 w 19"/>
                  <a:gd name="T15" fmla="*/ 6 h 14"/>
                  <a:gd name="T16" fmla="*/ 12 w 19"/>
                  <a:gd name="T17" fmla="*/ 7 h 14"/>
                  <a:gd name="T18" fmla="*/ 11 w 19"/>
                  <a:gd name="T19" fmla="*/ 7 h 14"/>
                  <a:gd name="T20" fmla="*/ 11 w 19"/>
                  <a:gd name="T21" fmla="*/ 7 h 14"/>
                  <a:gd name="T22" fmla="*/ 10 w 19"/>
                  <a:gd name="T23" fmla="*/ 7 h 14"/>
                  <a:gd name="T24" fmla="*/ 10 w 19"/>
                  <a:gd name="T25" fmla="*/ 9 h 14"/>
                  <a:gd name="T26" fmla="*/ 10 w 19"/>
                  <a:gd name="T27" fmla="*/ 9 h 14"/>
                  <a:gd name="T28" fmla="*/ 10 w 19"/>
                  <a:gd name="T29" fmla="*/ 11 h 14"/>
                  <a:gd name="T30" fmla="*/ 4 w 19"/>
                  <a:gd name="T31" fmla="*/ 11 h 14"/>
                  <a:gd name="T32" fmla="*/ 4 w 19"/>
                  <a:gd name="T33" fmla="*/ 11 h 14"/>
                  <a:gd name="T34" fmla="*/ 3 w 19"/>
                  <a:gd name="T35" fmla="*/ 6 h 14"/>
                  <a:gd name="T36" fmla="*/ 3 w 19"/>
                  <a:gd name="T37" fmla="*/ 4 h 14"/>
                  <a:gd name="T38" fmla="*/ 4 w 19"/>
                  <a:gd name="T39" fmla="*/ 4 h 14"/>
                  <a:gd name="T40" fmla="*/ 4 w 19"/>
                  <a:gd name="T41" fmla="*/ 4 h 14"/>
                  <a:gd name="T42" fmla="*/ 4 w 19"/>
                  <a:gd name="T43" fmla="*/ 7 h 14"/>
                  <a:gd name="T44" fmla="*/ 6 w 19"/>
                  <a:gd name="T45" fmla="*/ 7 h 14"/>
                  <a:gd name="T46" fmla="*/ 6 w 19"/>
                  <a:gd name="T47" fmla="*/ 4 h 14"/>
                  <a:gd name="T48" fmla="*/ 6 w 19"/>
                  <a:gd name="T49" fmla="*/ 3 h 14"/>
                  <a:gd name="T50" fmla="*/ 6 w 19"/>
                  <a:gd name="T51" fmla="*/ 3 h 14"/>
                  <a:gd name="T52" fmla="*/ 6 w 19"/>
                  <a:gd name="T53" fmla="*/ 3 h 14"/>
                  <a:gd name="T54" fmla="*/ 4 w 19"/>
                  <a:gd name="T55" fmla="*/ 2 h 14"/>
                  <a:gd name="T56" fmla="*/ 6 w 19"/>
                  <a:gd name="T57" fmla="*/ 0 h 14"/>
                  <a:gd name="T58" fmla="*/ 7 w 19"/>
                  <a:gd name="T59" fmla="*/ 0 h 14"/>
                  <a:gd name="T60" fmla="*/ 7 w 19"/>
                  <a:gd name="T61" fmla="*/ 2 h 14"/>
                  <a:gd name="T62" fmla="*/ 8 w 19"/>
                  <a:gd name="T63" fmla="*/ 2 h 14"/>
                  <a:gd name="T64" fmla="*/ 3 w 19"/>
                  <a:gd name="T65" fmla="*/ 7 h 14"/>
                  <a:gd name="T66" fmla="*/ 3 w 19"/>
                  <a:gd name="T67" fmla="*/ 9 h 14"/>
                  <a:gd name="T68" fmla="*/ 1 w 19"/>
                  <a:gd name="T69" fmla="*/ 9 h 14"/>
                  <a:gd name="T70" fmla="*/ 1 w 19"/>
                  <a:gd name="T71" fmla="*/ 9 h 14"/>
                  <a:gd name="T72" fmla="*/ 1 w 19"/>
                  <a:gd name="T73" fmla="*/ 10 h 14"/>
                  <a:gd name="T74" fmla="*/ 0 w 19"/>
                  <a:gd name="T75" fmla="*/ 10 h 14"/>
                  <a:gd name="T76" fmla="*/ 0 w 19"/>
                  <a:gd name="T77" fmla="*/ 9 h 14"/>
                  <a:gd name="T78" fmla="*/ 0 w 19"/>
                  <a:gd name="T79" fmla="*/ 6 h 14"/>
                  <a:gd name="T80" fmla="*/ 1 w 19"/>
                  <a:gd name="T81" fmla="*/ 6 h 14"/>
                  <a:gd name="T82" fmla="*/ 3 w 19"/>
                  <a:gd name="T83" fmla="*/ 7 h 14"/>
                  <a:gd name="T84" fmla="*/ 19 w 19"/>
                  <a:gd name="T85" fmla="*/ 13 h 14"/>
                  <a:gd name="T86" fmla="*/ 19 w 19"/>
                  <a:gd name="T87" fmla="*/ 14 h 14"/>
                  <a:gd name="T88" fmla="*/ 18 w 19"/>
                  <a:gd name="T89" fmla="*/ 14 h 14"/>
                  <a:gd name="T90" fmla="*/ 17 w 19"/>
                  <a:gd name="T91" fmla="*/ 13 h 14"/>
                  <a:gd name="T92" fmla="*/ 15 w 19"/>
                  <a:gd name="T93" fmla="*/ 14 h 14"/>
                  <a:gd name="T94" fmla="*/ 15 w 19"/>
                  <a:gd name="T95" fmla="*/ 13 h 14"/>
                  <a:gd name="T96" fmla="*/ 17 w 19"/>
                  <a:gd name="T97" fmla="*/ 13 h 14"/>
                  <a:gd name="T98" fmla="*/ 17 w 19"/>
                  <a:gd name="T99" fmla="*/ 11 h 14"/>
                  <a:gd name="T100" fmla="*/ 19 w 19"/>
                  <a:gd name="T101" fmla="*/ 13 h 14"/>
                  <a:gd name="T102" fmla="*/ 19 w 19"/>
                  <a:gd name="T103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9" h="14">
                    <a:moveTo>
                      <a:pt x="8" y="2"/>
                    </a:moveTo>
                    <a:lnTo>
                      <a:pt x="8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1" y="3"/>
                    </a:lnTo>
                    <a:lnTo>
                      <a:pt x="11" y="4"/>
                    </a:lnTo>
                    <a:lnTo>
                      <a:pt x="12" y="4"/>
                    </a:lnTo>
                    <a:lnTo>
                      <a:pt x="12" y="6"/>
                    </a:lnTo>
                    <a:lnTo>
                      <a:pt x="12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0" y="7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11"/>
                    </a:lnTo>
                    <a:lnTo>
                      <a:pt x="4" y="11"/>
                    </a:lnTo>
                    <a:lnTo>
                      <a:pt x="4" y="11"/>
                    </a:lnTo>
                    <a:lnTo>
                      <a:pt x="3" y="6"/>
                    </a:lnTo>
                    <a:lnTo>
                      <a:pt x="3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7"/>
                    </a:lnTo>
                    <a:lnTo>
                      <a:pt x="6" y="7"/>
                    </a:lnTo>
                    <a:lnTo>
                      <a:pt x="6" y="4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8" y="2"/>
                    </a:lnTo>
                    <a:close/>
                    <a:moveTo>
                      <a:pt x="3" y="7"/>
                    </a:moveTo>
                    <a:lnTo>
                      <a:pt x="3" y="9"/>
                    </a:lnTo>
                    <a:lnTo>
                      <a:pt x="1" y="9"/>
                    </a:lnTo>
                    <a:lnTo>
                      <a:pt x="1" y="9"/>
                    </a:lnTo>
                    <a:lnTo>
                      <a:pt x="1" y="10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3" y="7"/>
                    </a:lnTo>
                    <a:close/>
                    <a:moveTo>
                      <a:pt x="19" y="13"/>
                    </a:moveTo>
                    <a:lnTo>
                      <a:pt x="19" y="14"/>
                    </a:lnTo>
                    <a:lnTo>
                      <a:pt x="18" y="14"/>
                    </a:lnTo>
                    <a:lnTo>
                      <a:pt x="17" y="13"/>
                    </a:lnTo>
                    <a:lnTo>
                      <a:pt x="15" y="14"/>
                    </a:lnTo>
                    <a:lnTo>
                      <a:pt x="15" y="13"/>
                    </a:lnTo>
                    <a:lnTo>
                      <a:pt x="17" y="13"/>
                    </a:lnTo>
                    <a:lnTo>
                      <a:pt x="17" y="11"/>
                    </a:lnTo>
                    <a:lnTo>
                      <a:pt x="19" y="13"/>
                    </a:lnTo>
                    <a:lnTo>
                      <a:pt x="19" y="13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42" name="Bosnia and Herzegovina">
                <a:extLst>
                  <a:ext uri="{FF2B5EF4-FFF2-40B4-BE49-F238E27FC236}">
                    <a16:creationId xmlns:a16="http://schemas.microsoft.com/office/drawing/2014/main" id="{A338820C-CA62-05D3-E893-BCD42E604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0534" y="2808352"/>
                <a:ext cx="53965" cy="53182"/>
              </a:xfrm>
              <a:custGeom>
                <a:avLst/>
                <a:gdLst>
                  <a:gd name="T0" fmla="*/ 26 w 69"/>
                  <a:gd name="T1" fmla="*/ 3 h 68"/>
                  <a:gd name="T2" fmla="*/ 30 w 69"/>
                  <a:gd name="T3" fmla="*/ 3 h 68"/>
                  <a:gd name="T4" fmla="*/ 35 w 69"/>
                  <a:gd name="T5" fmla="*/ 3 h 68"/>
                  <a:gd name="T6" fmla="*/ 37 w 69"/>
                  <a:gd name="T7" fmla="*/ 4 h 68"/>
                  <a:gd name="T8" fmla="*/ 43 w 69"/>
                  <a:gd name="T9" fmla="*/ 4 h 68"/>
                  <a:gd name="T10" fmla="*/ 47 w 69"/>
                  <a:gd name="T11" fmla="*/ 4 h 68"/>
                  <a:gd name="T12" fmla="*/ 53 w 69"/>
                  <a:gd name="T13" fmla="*/ 4 h 68"/>
                  <a:gd name="T14" fmla="*/ 54 w 69"/>
                  <a:gd name="T15" fmla="*/ 8 h 68"/>
                  <a:gd name="T16" fmla="*/ 57 w 69"/>
                  <a:gd name="T17" fmla="*/ 10 h 68"/>
                  <a:gd name="T18" fmla="*/ 61 w 69"/>
                  <a:gd name="T19" fmla="*/ 10 h 68"/>
                  <a:gd name="T20" fmla="*/ 65 w 69"/>
                  <a:gd name="T21" fmla="*/ 10 h 68"/>
                  <a:gd name="T22" fmla="*/ 64 w 69"/>
                  <a:gd name="T23" fmla="*/ 14 h 68"/>
                  <a:gd name="T24" fmla="*/ 61 w 69"/>
                  <a:gd name="T25" fmla="*/ 20 h 68"/>
                  <a:gd name="T26" fmla="*/ 61 w 69"/>
                  <a:gd name="T27" fmla="*/ 24 h 68"/>
                  <a:gd name="T28" fmla="*/ 64 w 69"/>
                  <a:gd name="T29" fmla="*/ 26 h 68"/>
                  <a:gd name="T30" fmla="*/ 69 w 69"/>
                  <a:gd name="T31" fmla="*/ 31 h 68"/>
                  <a:gd name="T32" fmla="*/ 67 w 69"/>
                  <a:gd name="T33" fmla="*/ 32 h 68"/>
                  <a:gd name="T34" fmla="*/ 64 w 69"/>
                  <a:gd name="T35" fmla="*/ 32 h 68"/>
                  <a:gd name="T36" fmla="*/ 65 w 69"/>
                  <a:gd name="T37" fmla="*/ 36 h 68"/>
                  <a:gd name="T38" fmla="*/ 67 w 69"/>
                  <a:gd name="T39" fmla="*/ 42 h 68"/>
                  <a:gd name="T40" fmla="*/ 65 w 69"/>
                  <a:gd name="T41" fmla="*/ 42 h 68"/>
                  <a:gd name="T42" fmla="*/ 62 w 69"/>
                  <a:gd name="T43" fmla="*/ 43 h 68"/>
                  <a:gd name="T44" fmla="*/ 60 w 69"/>
                  <a:gd name="T45" fmla="*/ 45 h 68"/>
                  <a:gd name="T46" fmla="*/ 57 w 69"/>
                  <a:gd name="T47" fmla="*/ 45 h 68"/>
                  <a:gd name="T48" fmla="*/ 60 w 69"/>
                  <a:gd name="T49" fmla="*/ 49 h 68"/>
                  <a:gd name="T50" fmla="*/ 57 w 69"/>
                  <a:gd name="T51" fmla="*/ 49 h 68"/>
                  <a:gd name="T52" fmla="*/ 54 w 69"/>
                  <a:gd name="T53" fmla="*/ 50 h 68"/>
                  <a:gd name="T54" fmla="*/ 51 w 69"/>
                  <a:gd name="T55" fmla="*/ 53 h 68"/>
                  <a:gd name="T56" fmla="*/ 48 w 69"/>
                  <a:gd name="T57" fmla="*/ 57 h 68"/>
                  <a:gd name="T58" fmla="*/ 48 w 69"/>
                  <a:gd name="T59" fmla="*/ 61 h 68"/>
                  <a:gd name="T60" fmla="*/ 50 w 69"/>
                  <a:gd name="T61" fmla="*/ 66 h 68"/>
                  <a:gd name="T62" fmla="*/ 48 w 69"/>
                  <a:gd name="T63" fmla="*/ 68 h 68"/>
                  <a:gd name="T64" fmla="*/ 46 w 69"/>
                  <a:gd name="T65" fmla="*/ 67 h 68"/>
                  <a:gd name="T66" fmla="*/ 39 w 69"/>
                  <a:gd name="T67" fmla="*/ 61 h 68"/>
                  <a:gd name="T68" fmla="*/ 36 w 69"/>
                  <a:gd name="T69" fmla="*/ 59 h 68"/>
                  <a:gd name="T70" fmla="*/ 33 w 69"/>
                  <a:gd name="T71" fmla="*/ 59 h 68"/>
                  <a:gd name="T72" fmla="*/ 33 w 69"/>
                  <a:gd name="T73" fmla="*/ 56 h 68"/>
                  <a:gd name="T74" fmla="*/ 28 w 69"/>
                  <a:gd name="T75" fmla="*/ 49 h 68"/>
                  <a:gd name="T76" fmla="*/ 23 w 69"/>
                  <a:gd name="T77" fmla="*/ 45 h 68"/>
                  <a:gd name="T78" fmla="*/ 16 w 69"/>
                  <a:gd name="T79" fmla="*/ 36 h 68"/>
                  <a:gd name="T80" fmla="*/ 11 w 69"/>
                  <a:gd name="T81" fmla="*/ 31 h 68"/>
                  <a:gd name="T82" fmla="*/ 7 w 69"/>
                  <a:gd name="T83" fmla="*/ 24 h 68"/>
                  <a:gd name="T84" fmla="*/ 5 w 69"/>
                  <a:gd name="T85" fmla="*/ 18 h 68"/>
                  <a:gd name="T86" fmla="*/ 0 w 69"/>
                  <a:gd name="T87" fmla="*/ 11 h 68"/>
                  <a:gd name="T88" fmla="*/ 1 w 69"/>
                  <a:gd name="T89" fmla="*/ 1 h 68"/>
                  <a:gd name="T90" fmla="*/ 4 w 69"/>
                  <a:gd name="T91" fmla="*/ 1 h 68"/>
                  <a:gd name="T92" fmla="*/ 9 w 69"/>
                  <a:gd name="T93" fmla="*/ 7 h 68"/>
                  <a:gd name="T94" fmla="*/ 14 w 69"/>
                  <a:gd name="T95" fmla="*/ 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" h="68">
                    <a:moveTo>
                      <a:pt x="21" y="0"/>
                    </a:moveTo>
                    <a:lnTo>
                      <a:pt x="25" y="3"/>
                    </a:lnTo>
                    <a:lnTo>
                      <a:pt x="26" y="3"/>
                    </a:lnTo>
                    <a:lnTo>
                      <a:pt x="26" y="3"/>
                    </a:lnTo>
                    <a:lnTo>
                      <a:pt x="28" y="3"/>
                    </a:lnTo>
                    <a:lnTo>
                      <a:pt x="30" y="3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5" y="3"/>
                    </a:lnTo>
                    <a:lnTo>
                      <a:pt x="35" y="3"/>
                    </a:lnTo>
                    <a:lnTo>
                      <a:pt x="37" y="4"/>
                    </a:lnTo>
                    <a:lnTo>
                      <a:pt x="37" y="4"/>
                    </a:lnTo>
                    <a:lnTo>
                      <a:pt x="39" y="4"/>
                    </a:lnTo>
                    <a:lnTo>
                      <a:pt x="40" y="3"/>
                    </a:lnTo>
                    <a:lnTo>
                      <a:pt x="43" y="4"/>
                    </a:lnTo>
                    <a:lnTo>
                      <a:pt x="44" y="3"/>
                    </a:lnTo>
                    <a:lnTo>
                      <a:pt x="46" y="3"/>
                    </a:lnTo>
                    <a:lnTo>
                      <a:pt x="47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3" y="4"/>
                    </a:lnTo>
                    <a:lnTo>
                      <a:pt x="54" y="6"/>
                    </a:lnTo>
                    <a:lnTo>
                      <a:pt x="54" y="7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5" y="10"/>
                    </a:lnTo>
                    <a:lnTo>
                      <a:pt x="57" y="10"/>
                    </a:lnTo>
                    <a:lnTo>
                      <a:pt x="58" y="10"/>
                    </a:lnTo>
                    <a:lnTo>
                      <a:pt x="60" y="10"/>
                    </a:lnTo>
                    <a:lnTo>
                      <a:pt x="61" y="10"/>
                    </a:lnTo>
                    <a:lnTo>
                      <a:pt x="62" y="8"/>
                    </a:lnTo>
                    <a:lnTo>
                      <a:pt x="64" y="10"/>
                    </a:lnTo>
                    <a:lnTo>
                      <a:pt x="65" y="10"/>
                    </a:lnTo>
                    <a:lnTo>
                      <a:pt x="65" y="10"/>
                    </a:lnTo>
                    <a:lnTo>
                      <a:pt x="64" y="13"/>
                    </a:lnTo>
                    <a:lnTo>
                      <a:pt x="64" y="14"/>
                    </a:lnTo>
                    <a:lnTo>
                      <a:pt x="62" y="17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2"/>
                    </a:lnTo>
                    <a:lnTo>
                      <a:pt x="61" y="24"/>
                    </a:lnTo>
                    <a:lnTo>
                      <a:pt x="61" y="24"/>
                    </a:lnTo>
                    <a:lnTo>
                      <a:pt x="61" y="25"/>
                    </a:lnTo>
                    <a:lnTo>
                      <a:pt x="62" y="25"/>
                    </a:lnTo>
                    <a:lnTo>
                      <a:pt x="64" y="26"/>
                    </a:lnTo>
                    <a:lnTo>
                      <a:pt x="67" y="28"/>
                    </a:lnTo>
                    <a:lnTo>
                      <a:pt x="68" y="31"/>
                    </a:lnTo>
                    <a:lnTo>
                      <a:pt x="69" y="31"/>
                    </a:lnTo>
                    <a:lnTo>
                      <a:pt x="69" y="32"/>
                    </a:lnTo>
                    <a:lnTo>
                      <a:pt x="68" y="32"/>
                    </a:lnTo>
                    <a:lnTo>
                      <a:pt x="67" y="32"/>
                    </a:lnTo>
                    <a:lnTo>
                      <a:pt x="65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2" y="33"/>
                    </a:lnTo>
                    <a:lnTo>
                      <a:pt x="62" y="33"/>
                    </a:lnTo>
                    <a:lnTo>
                      <a:pt x="65" y="36"/>
                    </a:lnTo>
                    <a:lnTo>
                      <a:pt x="67" y="39"/>
                    </a:lnTo>
                    <a:lnTo>
                      <a:pt x="68" y="42"/>
                    </a:lnTo>
                    <a:lnTo>
                      <a:pt x="67" y="42"/>
                    </a:lnTo>
                    <a:lnTo>
                      <a:pt x="67" y="43"/>
                    </a:lnTo>
                    <a:lnTo>
                      <a:pt x="65" y="43"/>
                    </a:lnTo>
                    <a:lnTo>
                      <a:pt x="65" y="42"/>
                    </a:lnTo>
                    <a:lnTo>
                      <a:pt x="64" y="42"/>
                    </a:lnTo>
                    <a:lnTo>
                      <a:pt x="62" y="43"/>
                    </a:lnTo>
                    <a:lnTo>
                      <a:pt x="62" y="43"/>
                    </a:lnTo>
                    <a:lnTo>
                      <a:pt x="61" y="43"/>
                    </a:lnTo>
                    <a:lnTo>
                      <a:pt x="61" y="45"/>
                    </a:lnTo>
                    <a:lnTo>
                      <a:pt x="60" y="45"/>
                    </a:lnTo>
                    <a:lnTo>
                      <a:pt x="58" y="43"/>
                    </a:lnTo>
                    <a:lnTo>
                      <a:pt x="58" y="43"/>
                    </a:lnTo>
                    <a:lnTo>
                      <a:pt x="57" y="45"/>
                    </a:lnTo>
                    <a:lnTo>
                      <a:pt x="57" y="45"/>
                    </a:lnTo>
                    <a:lnTo>
                      <a:pt x="58" y="46"/>
                    </a:lnTo>
                    <a:lnTo>
                      <a:pt x="60" y="49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7" y="49"/>
                    </a:lnTo>
                    <a:lnTo>
                      <a:pt x="57" y="49"/>
                    </a:lnTo>
                    <a:lnTo>
                      <a:pt x="55" y="49"/>
                    </a:lnTo>
                    <a:lnTo>
                      <a:pt x="54" y="50"/>
                    </a:lnTo>
                    <a:lnTo>
                      <a:pt x="53" y="52"/>
                    </a:lnTo>
                    <a:lnTo>
                      <a:pt x="53" y="53"/>
                    </a:lnTo>
                    <a:lnTo>
                      <a:pt x="51" y="53"/>
                    </a:lnTo>
                    <a:lnTo>
                      <a:pt x="51" y="54"/>
                    </a:lnTo>
                    <a:lnTo>
                      <a:pt x="51" y="57"/>
                    </a:lnTo>
                    <a:lnTo>
                      <a:pt x="48" y="57"/>
                    </a:lnTo>
                    <a:lnTo>
                      <a:pt x="48" y="57"/>
                    </a:lnTo>
                    <a:lnTo>
                      <a:pt x="48" y="59"/>
                    </a:lnTo>
                    <a:lnTo>
                      <a:pt x="48" y="61"/>
                    </a:lnTo>
                    <a:lnTo>
                      <a:pt x="48" y="63"/>
                    </a:lnTo>
                    <a:lnTo>
                      <a:pt x="50" y="66"/>
                    </a:lnTo>
                    <a:lnTo>
                      <a:pt x="50" y="66"/>
                    </a:lnTo>
                    <a:lnTo>
                      <a:pt x="50" y="67"/>
                    </a:lnTo>
                    <a:lnTo>
                      <a:pt x="48" y="67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7" y="67"/>
                    </a:lnTo>
                    <a:lnTo>
                      <a:pt x="46" y="67"/>
                    </a:lnTo>
                    <a:lnTo>
                      <a:pt x="43" y="64"/>
                    </a:lnTo>
                    <a:lnTo>
                      <a:pt x="41" y="64"/>
                    </a:lnTo>
                    <a:lnTo>
                      <a:pt x="39" y="61"/>
                    </a:lnTo>
                    <a:lnTo>
                      <a:pt x="37" y="61"/>
                    </a:lnTo>
                    <a:lnTo>
                      <a:pt x="36" y="60"/>
                    </a:lnTo>
                    <a:lnTo>
                      <a:pt x="36" y="59"/>
                    </a:lnTo>
                    <a:lnTo>
                      <a:pt x="35" y="60"/>
                    </a:lnTo>
                    <a:lnTo>
                      <a:pt x="33" y="59"/>
                    </a:lnTo>
                    <a:lnTo>
                      <a:pt x="33" y="59"/>
                    </a:lnTo>
                    <a:lnTo>
                      <a:pt x="35" y="57"/>
                    </a:lnTo>
                    <a:lnTo>
                      <a:pt x="33" y="57"/>
                    </a:lnTo>
                    <a:lnTo>
                      <a:pt x="33" y="56"/>
                    </a:lnTo>
                    <a:lnTo>
                      <a:pt x="29" y="52"/>
                    </a:lnTo>
                    <a:lnTo>
                      <a:pt x="28" y="50"/>
                    </a:lnTo>
                    <a:lnTo>
                      <a:pt x="28" y="49"/>
                    </a:lnTo>
                    <a:lnTo>
                      <a:pt x="28" y="46"/>
                    </a:lnTo>
                    <a:lnTo>
                      <a:pt x="26" y="46"/>
                    </a:lnTo>
                    <a:lnTo>
                      <a:pt x="23" y="45"/>
                    </a:lnTo>
                    <a:lnTo>
                      <a:pt x="21" y="40"/>
                    </a:lnTo>
                    <a:lnTo>
                      <a:pt x="16" y="38"/>
                    </a:lnTo>
                    <a:lnTo>
                      <a:pt x="16" y="36"/>
                    </a:lnTo>
                    <a:lnTo>
                      <a:pt x="15" y="35"/>
                    </a:lnTo>
                    <a:lnTo>
                      <a:pt x="12" y="32"/>
                    </a:lnTo>
                    <a:lnTo>
                      <a:pt x="11" y="31"/>
                    </a:lnTo>
                    <a:lnTo>
                      <a:pt x="9" y="29"/>
                    </a:lnTo>
                    <a:lnTo>
                      <a:pt x="8" y="26"/>
                    </a:lnTo>
                    <a:lnTo>
                      <a:pt x="7" y="24"/>
                    </a:lnTo>
                    <a:lnTo>
                      <a:pt x="7" y="21"/>
                    </a:lnTo>
                    <a:lnTo>
                      <a:pt x="5" y="20"/>
                    </a:lnTo>
                    <a:lnTo>
                      <a:pt x="5" y="18"/>
                    </a:lnTo>
                    <a:lnTo>
                      <a:pt x="1" y="15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0" y="3"/>
                    </a:lnTo>
                    <a:lnTo>
                      <a:pt x="1" y="1"/>
                    </a:lnTo>
                    <a:lnTo>
                      <a:pt x="1" y="1"/>
                    </a:lnTo>
                    <a:lnTo>
                      <a:pt x="2" y="1"/>
                    </a:lnTo>
                    <a:lnTo>
                      <a:pt x="4" y="1"/>
                    </a:lnTo>
                    <a:lnTo>
                      <a:pt x="7" y="6"/>
                    </a:lnTo>
                    <a:lnTo>
                      <a:pt x="8" y="6"/>
                    </a:lnTo>
                    <a:lnTo>
                      <a:pt x="9" y="7"/>
                    </a:lnTo>
                    <a:lnTo>
                      <a:pt x="11" y="6"/>
                    </a:lnTo>
                    <a:lnTo>
                      <a:pt x="12" y="3"/>
                    </a:lnTo>
                    <a:lnTo>
                      <a:pt x="14" y="1"/>
                    </a:lnTo>
                    <a:lnTo>
                      <a:pt x="18" y="1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43" name="Belgium">
                <a:extLst>
                  <a:ext uri="{FF2B5EF4-FFF2-40B4-BE49-F238E27FC236}">
                    <a16:creationId xmlns:a16="http://schemas.microsoft.com/office/drawing/2014/main" id="{5DB6BA03-2B33-1A29-206C-EF2DD76978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2049" y="2675396"/>
                <a:ext cx="53965" cy="43798"/>
              </a:xfrm>
              <a:custGeom>
                <a:avLst/>
                <a:gdLst>
                  <a:gd name="T0" fmla="*/ 43 w 69"/>
                  <a:gd name="T1" fmla="*/ 3 h 56"/>
                  <a:gd name="T2" fmla="*/ 46 w 69"/>
                  <a:gd name="T3" fmla="*/ 0 h 56"/>
                  <a:gd name="T4" fmla="*/ 47 w 69"/>
                  <a:gd name="T5" fmla="*/ 4 h 56"/>
                  <a:gd name="T6" fmla="*/ 53 w 69"/>
                  <a:gd name="T7" fmla="*/ 6 h 56"/>
                  <a:gd name="T8" fmla="*/ 55 w 69"/>
                  <a:gd name="T9" fmla="*/ 7 h 56"/>
                  <a:gd name="T10" fmla="*/ 60 w 69"/>
                  <a:gd name="T11" fmla="*/ 10 h 56"/>
                  <a:gd name="T12" fmla="*/ 58 w 69"/>
                  <a:gd name="T13" fmla="*/ 14 h 56"/>
                  <a:gd name="T14" fmla="*/ 58 w 69"/>
                  <a:gd name="T15" fmla="*/ 17 h 56"/>
                  <a:gd name="T16" fmla="*/ 57 w 69"/>
                  <a:gd name="T17" fmla="*/ 20 h 56"/>
                  <a:gd name="T18" fmla="*/ 61 w 69"/>
                  <a:gd name="T19" fmla="*/ 21 h 56"/>
                  <a:gd name="T20" fmla="*/ 65 w 69"/>
                  <a:gd name="T21" fmla="*/ 24 h 56"/>
                  <a:gd name="T22" fmla="*/ 67 w 69"/>
                  <a:gd name="T23" fmla="*/ 26 h 56"/>
                  <a:gd name="T24" fmla="*/ 68 w 69"/>
                  <a:gd name="T25" fmla="*/ 29 h 56"/>
                  <a:gd name="T26" fmla="*/ 69 w 69"/>
                  <a:gd name="T27" fmla="*/ 33 h 56"/>
                  <a:gd name="T28" fmla="*/ 65 w 69"/>
                  <a:gd name="T29" fmla="*/ 39 h 56"/>
                  <a:gd name="T30" fmla="*/ 64 w 69"/>
                  <a:gd name="T31" fmla="*/ 38 h 56"/>
                  <a:gd name="T32" fmla="*/ 60 w 69"/>
                  <a:gd name="T33" fmla="*/ 42 h 56"/>
                  <a:gd name="T34" fmla="*/ 58 w 69"/>
                  <a:gd name="T35" fmla="*/ 46 h 56"/>
                  <a:gd name="T36" fmla="*/ 58 w 69"/>
                  <a:gd name="T37" fmla="*/ 47 h 56"/>
                  <a:gd name="T38" fmla="*/ 61 w 69"/>
                  <a:gd name="T39" fmla="*/ 53 h 56"/>
                  <a:gd name="T40" fmla="*/ 60 w 69"/>
                  <a:gd name="T41" fmla="*/ 56 h 56"/>
                  <a:gd name="T42" fmla="*/ 57 w 69"/>
                  <a:gd name="T43" fmla="*/ 56 h 56"/>
                  <a:gd name="T44" fmla="*/ 53 w 69"/>
                  <a:gd name="T45" fmla="*/ 56 h 56"/>
                  <a:gd name="T46" fmla="*/ 50 w 69"/>
                  <a:gd name="T47" fmla="*/ 52 h 56"/>
                  <a:gd name="T48" fmla="*/ 46 w 69"/>
                  <a:gd name="T49" fmla="*/ 50 h 56"/>
                  <a:gd name="T50" fmla="*/ 43 w 69"/>
                  <a:gd name="T51" fmla="*/ 49 h 56"/>
                  <a:gd name="T52" fmla="*/ 41 w 69"/>
                  <a:gd name="T53" fmla="*/ 43 h 56"/>
                  <a:gd name="T54" fmla="*/ 41 w 69"/>
                  <a:gd name="T55" fmla="*/ 39 h 56"/>
                  <a:gd name="T56" fmla="*/ 39 w 69"/>
                  <a:gd name="T57" fmla="*/ 43 h 56"/>
                  <a:gd name="T58" fmla="*/ 30 w 69"/>
                  <a:gd name="T59" fmla="*/ 43 h 56"/>
                  <a:gd name="T60" fmla="*/ 29 w 69"/>
                  <a:gd name="T61" fmla="*/ 43 h 56"/>
                  <a:gd name="T62" fmla="*/ 30 w 69"/>
                  <a:gd name="T63" fmla="*/ 40 h 56"/>
                  <a:gd name="T64" fmla="*/ 29 w 69"/>
                  <a:gd name="T65" fmla="*/ 38 h 56"/>
                  <a:gd name="T66" fmla="*/ 28 w 69"/>
                  <a:gd name="T67" fmla="*/ 33 h 56"/>
                  <a:gd name="T68" fmla="*/ 23 w 69"/>
                  <a:gd name="T69" fmla="*/ 33 h 56"/>
                  <a:gd name="T70" fmla="*/ 21 w 69"/>
                  <a:gd name="T71" fmla="*/ 33 h 56"/>
                  <a:gd name="T72" fmla="*/ 19 w 69"/>
                  <a:gd name="T73" fmla="*/ 29 h 56"/>
                  <a:gd name="T74" fmla="*/ 14 w 69"/>
                  <a:gd name="T75" fmla="*/ 28 h 56"/>
                  <a:gd name="T76" fmla="*/ 12 w 69"/>
                  <a:gd name="T77" fmla="*/ 22 h 56"/>
                  <a:gd name="T78" fmla="*/ 9 w 69"/>
                  <a:gd name="T79" fmla="*/ 21 h 56"/>
                  <a:gd name="T80" fmla="*/ 5 w 69"/>
                  <a:gd name="T81" fmla="*/ 22 h 56"/>
                  <a:gd name="T82" fmla="*/ 1 w 69"/>
                  <a:gd name="T83" fmla="*/ 18 h 56"/>
                  <a:gd name="T84" fmla="*/ 1 w 69"/>
                  <a:gd name="T85" fmla="*/ 14 h 56"/>
                  <a:gd name="T86" fmla="*/ 8 w 69"/>
                  <a:gd name="T87" fmla="*/ 7 h 56"/>
                  <a:gd name="T88" fmla="*/ 15 w 69"/>
                  <a:gd name="T89" fmla="*/ 6 h 56"/>
                  <a:gd name="T90" fmla="*/ 18 w 69"/>
                  <a:gd name="T91" fmla="*/ 7 h 56"/>
                  <a:gd name="T92" fmla="*/ 21 w 69"/>
                  <a:gd name="T93" fmla="*/ 6 h 56"/>
                  <a:gd name="T94" fmla="*/ 23 w 69"/>
                  <a:gd name="T95" fmla="*/ 8 h 56"/>
                  <a:gd name="T96" fmla="*/ 30 w 69"/>
                  <a:gd name="T97" fmla="*/ 6 h 56"/>
                  <a:gd name="T98" fmla="*/ 32 w 69"/>
                  <a:gd name="T99" fmla="*/ 4 h 56"/>
                  <a:gd name="T100" fmla="*/ 35 w 69"/>
                  <a:gd name="T101" fmla="*/ 1 h 56"/>
                  <a:gd name="T102" fmla="*/ 36 w 69"/>
                  <a:gd name="T103" fmla="*/ 1 h 56"/>
                  <a:gd name="T104" fmla="*/ 40 w 69"/>
                  <a:gd name="T105" fmla="*/ 0 h 56"/>
                  <a:gd name="T106" fmla="*/ 41 w 69"/>
                  <a:gd name="T107" fmla="*/ 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9" h="56">
                    <a:moveTo>
                      <a:pt x="41" y="1"/>
                    </a:moveTo>
                    <a:lnTo>
                      <a:pt x="41" y="3"/>
                    </a:lnTo>
                    <a:lnTo>
                      <a:pt x="43" y="3"/>
                    </a:lnTo>
                    <a:lnTo>
                      <a:pt x="44" y="3"/>
                    </a:lnTo>
                    <a:lnTo>
                      <a:pt x="44" y="1"/>
                    </a:lnTo>
                    <a:lnTo>
                      <a:pt x="46" y="0"/>
                    </a:lnTo>
                    <a:lnTo>
                      <a:pt x="46" y="1"/>
                    </a:lnTo>
                    <a:lnTo>
                      <a:pt x="47" y="3"/>
                    </a:lnTo>
                    <a:lnTo>
                      <a:pt x="47" y="4"/>
                    </a:lnTo>
                    <a:lnTo>
                      <a:pt x="48" y="6"/>
                    </a:lnTo>
                    <a:lnTo>
                      <a:pt x="51" y="7"/>
                    </a:lnTo>
                    <a:lnTo>
                      <a:pt x="53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5" y="7"/>
                    </a:lnTo>
                    <a:lnTo>
                      <a:pt x="55" y="8"/>
                    </a:lnTo>
                    <a:lnTo>
                      <a:pt x="58" y="10"/>
                    </a:lnTo>
                    <a:lnTo>
                      <a:pt x="60" y="10"/>
                    </a:lnTo>
                    <a:lnTo>
                      <a:pt x="60" y="11"/>
                    </a:lnTo>
                    <a:lnTo>
                      <a:pt x="60" y="11"/>
                    </a:lnTo>
                    <a:lnTo>
                      <a:pt x="58" y="14"/>
                    </a:lnTo>
                    <a:lnTo>
                      <a:pt x="58" y="15"/>
                    </a:lnTo>
                    <a:lnTo>
                      <a:pt x="58" y="15"/>
                    </a:lnTo>
                    <a:lnTo>
                      <a:pt x="58" y="17"/>
                    </a:lnTo>
                    <a:lnTo>
                      <a:pt x="57" y="18"/>
                    </a:lnTo>
                    <a:lnTo>
                      <a:pt x="57" y="18"/>
                    </a:lnTo>
                    <a:lnTo>
                      <a:pt x="57" y="20"/>
                    </a:lnTo>
                    <a:lnTo>
                      <a:pt x="58" y="21"/>
                    </a:lnTo>
                    <a:lnTo>
                      <a:pt x="60" y="20"/>
                    </a:lnTo>
                    <a:lnTo>
                      <a:pt x="61" y="21"/>
                    </a:lnTo>
                    <a:lnTo>
                      <a:pt x="64" y="21"/>
                    </a:lnTo>
                    <a:lnTo>
                      <a:pt x="64" y="22"/>
                    </a:lnTo>
                    <a:lnTo>
                      <a:pt x="65" y="24"/>
                    </a:lnTo>
                    <a:lnTo>
                      <a:pt x="67" y="25"/>
                    </a:lnTo>
                    <a:lnTo>
                      <a:pt x="68" y="25"/>
                    </a:lnTo>
                    <a:lnTo>
                      <a:pt x="67" y="26"/>
                    </a:lnTo>
                    <a:lnTo>
                      <a:pt x="67" y="28"/>
                    </a:lnTo>
                    <a:lnTo>
                      <a:pt x="67" y="28"/>
                    </a:lnTo>
                    <a:lnTo>
                      <a:pt x="68" y="29"/>
                    </a:lnTo>
                    <a:lnTo>
                      <a:pt x="69" y="29"/>
                    </a:lnTo>
                    <a:lnTo>
                      <a:pt x="69" y="31"/>
                    </a:lnTo>
                    <a:lnTo>
                      <a:pt x="69" y="33"/>
                    </a:lnTo>
                    <a:lnTo>
                      <a:pt x="67" y="36"/>
                    </a:lnTo>
                    <a:lnTo>
                      <a:pt x="65" y="39"/>
                    </a:lnTo>
                    <a:lnTo>
                      <a:pt x="65" y="39"/>
                    </a:lnTo>
                    <a:lnTo>
                      <a:pt x="65" y="39"/>
                    </a:lnTo>
                    <a:lnTo>
                      <a:pt x="65" y="38"/>
                    </a:lnTo>
                    <a:lnTo>
                      <a:pt x="64" y="38"/>
                    </a:lnTo>
                    <a:lnTo>
                      <a:pt x="62" y="38"/>
                    </a:lnTo>
                    <a:lnTo>
                      <a:pt x="61" y="40"/>
                    </a:lnTo>
                    <a:lnTo>
                      <a:pt x="60" y="42"/>
                    </a:lnTo>
                    <a:lnTo>
                      <a:pt x="60" y="43"/>
                    </a:lnTo>
                    <a:lnTo>
                      <a:pt x="58" y="45"/>
                    </a:lnTo>
                    <a:lnTo>
                      <a:pt x="58" y="46"/>
                    </a:lnTo>
                    <a:lnTo>
                      <a:pt x="58" y="46"/>
                    </a:lnTo>
                    <a:lnTo>
                      <a:pt x="58" y="47"/>
                    </a:lnTo>
                    <a:lnTo>
                      <a:pt x="58" y="47"/>
                    </a:lnTo>
                    <a:lnTo>
                      <a:pt x="60" y="49"/>
                    </a:lnTo>
                    <a:lnTo>
                      <a:pt x="60" y="50"/>
                    </a:lnTo>
                    <a:lnTo>
                      <a:pt x="61" y="53"/>
                    </a:lnTo>
                    <a:lnTo>
                      <a:pt x="61" y="53"/>
                    </a:lnTo>
                    <a:lnTo>
                      <a:pt x="60" y="54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8" y="56"/>
                    </a:lnTo>
                    <a:lnTo>
                      <a:pt x="57" y="56"/>
                    </a:lnTo>
                    <a:lnTo>
                      <a:pt x="55" y="56"/>
                    </a:lnTo>
                    <a:lnTo>
                      <a:pt x="54" y="56"/>
                    </a:lnTo>
                    <a:lnTo>
                      <a:pt x="53" y="56"/>
                    </a:lnTo>
                    <a:lnTo>
                      <a:pt x="51" y="53"/>
                    </a:lnTo>
                    <a:lnTo>
                      <a:pt x="51" y="53"/>
                    </a:lnTo>
                    <a:lnTo>
                      <a:pt x="50" y="52"/>
                    </a:lnTo>
                    <a:lnTo>
                      <a:pt x="48" y="52"/>
                    </a:lnTo>
                    <a:lnTo>
                      <a:pt x="47" y="50"/>
                    </a:lnTo>
                    <a:lnTo>
                      <a:pt x="46" y="50"/>
                    </a:lnTo>
                    <a:lnTo>
                      <a:pt x="46" y="49"/>
                    </a:lnTo>
                    <a:lnTo>
                      <a:pt x="44" y="49"/>
                    </a:lnTo>
                    <a:lnTo>
                      <a:pt x="43" y="49"/>
                    </a:lnTo>
                    <a:lnTo>
                      <a:pt x="43" y="47"/>
                    </a:lnTo>
                    <a:lnTo>
                      <a:pt x="41" y="45"/>
                    </a:lnTo>
                    <a:lnTo>
                      <a:pt x="41" y="43"/>
                    </a:lnTo>
                    <a:lnTo>
                      <a:pt x="43" y="39"/>
                    </a:lnTo>
                    <a:lnTo>
                      <a:pt x="41" y="38"/>
                    </a:lnTo>
                    <a:lnTo>
                      <a:pt x="41" y="39"/>
                    </a:lnTo>
                    <a:lnTo>
                      <a:pt x="40" y="40"/>
                    </a:lnTo>
                    <a:lnTo>
                      <a:pt x="39" y="42"/>
                    </a:lnTo>
                    <a:lnTo>
                      <a:pt x="39" y="43"/>
                    </a:lnTo>
                    <a:lnTo>
                      <a:pt x="37" y="43"/>
                    </a:lnTo>
                    <a:lnTo>
                      <a:pt x="33" y="45"/>
                    </a:lnTo>
                    <a:lnTo>
                      <a:pt x="30" y="43"/>
                    </a:lnTo>
                    <a:lnTo>
                      <a:pt x="29" y="43"/>
                    </a:lnTo>
                    <a:lnTo>
                      <a:pt x="29" y="43"/>
                    </a:lnTo>
                    <a:lnTo>
                      <a:pt x="29" y="43"/>
                    </a:lnTo>
                    <a:lnTo>
                      <a:pt x="29" y="42"/>
                    </a:lnTo>
                    <a:lnTo>
                      <a:pt x="30" y="42"/>
                    </a:lnTo>
                    <a:lnTo>
                      <a:pt x="30" y="40"/>
                    </a:lnTo>
                    <a:lnTo>
                      <a:pt x="30" y="39"/>
                    </a:lnTo>
                    <a:lnTo>
                      <a:pt x="29" y="39"/>
                    </a:lnTo>
                    <a:lnTo>
                      <a:pt x="29" y="38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28" y="33"/>
                    </a:lnTo>
                    <a:lnTo>
                      <a:pt x="26" y="33"/>
                    </a:lnTo>
                    <a:lnTo>
                      <a:pt x="25" y="33"/>
                    </a:lnTo>
                    <a:lnTo>
                      <a:pt x="23" y="33"/>
                    </a:lnTo>
                    <a:lnTo>
                      <a:pt x="22" y="33"/>
                    </a:lnTo>
                    <a:lnTo>
                      <a:pt x="22" y="33"/>
                    </a:lnTo>
                    <a:lnTo>
                      <a:pt x="21" y="33"/>
                    </a:lnTo>
                    <a:lnTo>
                      <a:pt x="21" y="33"/>
                    </a:lnTo>
                    <a:lnTo>
                      <a:pt x="21" y="29"/>
                    </a:lnTo>
                    <a:lnTo>
                      <a:pt x="19" y="29"/>
                    </a:lnTo>
                    <a:lnTo>
                      <a:pt x="18" y="28"/>
                    </a:lnTo>
                    <a:lnTo>
                      <a:pt x="15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4"/>
                    </a:lnTo>
                    <a:lnTo>
                      <a:pt x="12" y="22"/>
                    </a:lnTo>
                    <a:lnTo>
                      <a:pt x="12" y="21"/>
                    </a:lnTo>
                    <a:lnTo>
                      <a:pt x="11" y="21"/>
                    </a:lnTo>
                    <a:lnTo>
                      <a:pt x="9" y="21"/>
                    </a:lnTo>
                    <a:lnTo>
                      <a:pt x="7" y="22"/>
                    </a:lnTo>
                    <a:lnTo>
                      <a:pt x="7" y="22"/>
                    </a:lnTo>
                    <a:lnTo>
                      <a:pt x="5" y="22"/>
                    </a:lnTo>
                    <a:lnTo>
                      <a:pt x="4" y="21"/>
                    </a:lnTo>
                    <a:lnTo>
                      <a:pt x="2" y="20"/>
                    </a:lnTo>
                    <a:lnTo>
                      <a:pt x="1" y="18"/>
                    </a:lnTo>
                    <a:lnTo>
                      <a:pt x="1" y="17"/>
                    </a:lnTo>
                    <a:lnTo>
                      <a:pt x="1" y="15"/>
                    </a:lnTo>
                    <a:lnTo>
                      <a:pt x="1" y="14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8" y="7"/>
                    </a:lnTo>
                    <a:lnTo>
                      <a:pt x="12" y="4"/>
                    </a:lnTo>
                    <a:lnTo>
                      <a:pt x="15" y="3"/>
                    </a:lnTo>
                    <a:lnTo>
                      <a:pt x="15" y="6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8" y="7"/>
                    </a:lnTo>
                    <a:lnTo>
                      <a:pt x="18" y="7"/>
                    </a:lnTo>
                    <a:lnTo>
                      <a:pt x="19" y="6"/>
                    </a:lnTo>
                    <a:lnTo>
                      <a:pt x="21" y="6"/>
                    </a:lnTo>
                    <a:lnTo>
                      <a:pt x="22" y="7"/>
                    </a:lnTo>
                    <a:lnTo>
                      <a:pt x="23" y="7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8" y="7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0" y="3"/>
                    </a:lnTo>
                    <a:lnTo>
                      <a:pt x="32" y="4"/>
                    </a:lnTo>
                    <a:lnTo>
                      <a:pt x="33" y="4"/>
                    </a:lnTo>
                    <a:lnTo>
                      <a:pt x="35" y="4"/>
                    </a:lnTo>
                    <a:lnTo>
                      <a:pt x="35" y="1"/>
                    </a:lnTo>
                    <a:lnTo>
                      <a:pt x="35" y="1"/>
                    </a:lnTo>
                    <a:lnTo>
                      <a:pt x="36" y="0"/>
                    </a:lnTo>
                    <a:lnTo>
                      <a:pt x="36" y="1"/>
                    </a:lnTo>
                    <a:lnTo>
                      <a:pt x="37" y="1"/>
                    </a:lnTo>
                    <a:lnTo>
                      <a:pt x="39" y="1"/>
                    </a:lnTo>
                    <a:lnTo>
                      <a:pt x="40" y="0"/>
                    </a:lnTo>
                    <a:lnTo>
                      <a:pt x="41" y="0"/>
                    </a:lnTo>
                    <a:lnTo>
                      <a:pt x="41" y="1"/>
                    </a:lnTo>
                    <a:lnTo>
                      <a:pt x="41" y="1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44" name="Bulgaria">
                <a:extLst>
                  <a:ext uri="{FF2B5EF4-FFF2-40B4-BE49-F238E27FC236}">
                    <a16:creationId xmlns:a16="http://schemas.microsoft.com/office/drawing/2014/main" id="{5AD3DF07-EA82-B81F-A4E9-98CDB3288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3604" y="2828687"/>
                <a:ext cx="88377" cy="57875"/>
              </a:xfrm>
              <a:custGeom>
                <a:avLst/>
                <a:gdLst>
                  <a:gd name="T0" fmla="*/ 111 w 113"/>
                  <a:gd name="T1" fmla="*/ 21 h 74"/>
                  <a:gd name="T2" fmla="*/ 104 w 113"/>
                  <a:gd name="T3" fmla="*/ 24 h 74"/>
                  <a:gd name="T4" fmla="*/ 101 w 113"/>
                  <a:gd name="T5" fmla="*/ 31 h 74"/>
                  <a:gd name="T6" fmla="*/ 98 w 113"/>
                  <a:gd name="T7" fmla="*/ 38 h 74"/>
                  <a:gd name="T8" fmla="*/ 98 w 113"/>
                  <a:gd name="T9" fmla="*/ 46 h 74"/>
                  <a:gd name="T10" fmla="*/ 104 w 113"/>
                  <a:gd name="T11" fmla="*/ 56 h 74"/>
                  <a:gd name="T12" fmla="*/ 99 w 113"/>
                  <a:gd name="T13" fmla="*/ 56 h 74"/>
                  <a:gd name="T14" fmla="*/ 95 w 113"/>
                  <a:gd name="T15" fmla="*/ 58 h 74"/>
                  <a:gd name="T16" fmla="*/ 91 w 113"/>
                  <a:gd name="T17" fmla="*/ 55 h 74"/>
                  <a:gd name="T18" fmla="*/ 88 w 113"/>
                  <a:gd name="T19" fmla="*/ 53 h 74"/>
                  <a:gd name="T20" fmla="*/ 83 w 113"/>
                  <a:gd name="T21" fmla="*/ 56 h 74"/>
                  <a:gd name="T22" fmla="*/ 77 w 113"/>
                  <a:gd name="T23" fmla="*/ 56 h 74"/>
                  <a:gd name="T24" fmla="*/ 76 w 113"/>
                  <a:gd name="T25" fmla="*/ 59 h 74"/>
                  <a:gd name="T26" fmla="*/ 73 w 113"/>
                  <a:gd name="T27" fmla="*/ 62 h 74"/>
                  <a:gd name="T28" fmla="*/ 70 w 113"/>
                  <a:gd name="T29" fmla="*/ 62 h 74"/>
                  <a:gd name="T30" fmla="*/ 67 w 113"/>
                  <a:gd name="T31" fmla="*/ 63 h 74"/>
                  <a:gd name="T32" fmla="*/ 69 w 113"/>
                  <a:gd name="T33" fmla="*/ 67 h 74"/>
                  <a:gd name="T34" fmla="*/ 67 w 113"/>
                  <a:gd name="T35" fmla="*/ 72 h 74"/>
                  <a:gd name="T36" fmla="*/ 62 w 113"/>
                  <a:gd name="T37" fmla="*/ 73 h 74"/>
                  <a:gd name="T38" fmla="*/ 55 w 113"/>
                  <a:gd name="T39" fmla="*/ 73 h 74"/>
                  <a:gd name="T40" fmla="*/ 48 w 113"/>
                  <a:gd name="T41" fmla="*/ 72 h 74"/>
                  <a:gd name="T42" fmla="*/ 44 w 113"/>
                  <a:gd name="T43" fmla="*/ 72 h 74"/>
                  <a:gd name="T44" fmla="*/ 41 w 113"/>
                  <a:gd name="T45" fmla="*/ 69 h 74"/>
                  <a:gd name="T46" fmla="*/ 37 w 113"/>
                  <a:gd name="T47" fmla="*/ 67 h 74"/>
                  <a:gd name="T48" fmla="*/ 31 w 113"/>
                  <a:gd name="T49" fmla="*/ 67 h 74"/>
                  <a:gd name="T50" fmla="*/ 30 w 113"/>
                  <a:gd name="T51" fmla="*/ 69 h 74"/>
                  <a:gd name="T52" fmla="*/ 23 w 113"/>
                  <a:gd name="T53" fmla="*/ 70 h 74"/>
                  <a:gd name="T54" fmla="*/ 19 w 113"/>
                  <a:gd name="T55" fmla="*/ 70 h 74"/>
                  <a:gd name="T56" fmla="*/ 13 w 113"/>
                  <a:gd name="T57" fmla="*/ 72 h 74"/>
                  <a:gd name="T58" fmla="*/ 12 w 113"/>
                  <a:gd name="T59" fmla="*/ 65 h 74"/>
                  <a:gd name="T60" fmla="*/ 12 w 113"/>
                  <a:gd name="T61" fmla="*/ 62 h 74"/>
                  <a:gd name="T62" fmla="*/ 9 w 113"/>
                  <a:gd name="T63" fmla="*/ 56 h 74"/>
                  <a:gd name="T64" fmla="*/ 5 w 113"/>
                  <a:gd name="T65" fmla="*/ 53 h 74"/>
                  <a:gd name="T66" fmla="*/ 2 w 113"/>
                  <a:gd name="T67" fmla="*/ 48 h 74"/>
                  <a:gd name="T68" fmla="*/ 3 w 113"/>
                  <a:gd name="T69" fmla="*/ 44 h 74"/>
                  <a:gd name="T70" fmla="*/ 2 w 113"/>
                  <a:gd name="T71" fmla="*/ 41 h 74"/>
                  <a:gd name="T72" fmla="*/ 2 w 113"/>
                  <a:gd name="T73" fmla="*/ 37 h 74"/>
                  <a:gd name="T74" fmla="*/ 3 w 113"/>
                  <a:gd name="T75" fmla="*/ 34 h 74"/>
                  <a:gd name="T76" fmla="*/ 9 w 113"/>
                  <a:gd name="T77" fmla="*/ 31 h 74"/>
                  <a:gd name="T78" fmla="*/ 12 w 113"/>
                  <a:gd name="T79" fmla="*/ 27 h 74"/>
                  <a:gd name="T80" fmla="*/ 9 w 113"/>
                  <a:gd name="T81" fmla="*/ 24 h 74"/>
                  <a:gd name="T82" fmla="*/ 3 w 113"/>
                  <a:gd name="T83" fmla="*/ 20 h 74"/>
                  <a:gd name="T84" fmla="*/ 2 w 113"/>
                  <a:gd name="T85" fmla="*/ 14 h 74"/>
                  <a:gd name="T86" fmla="*/ 0 w 113"/>
                  <a:gd name="T87" fmla="*/ 12 h 74"/>
                  <a:gd name="T88" fmla="*/ 2 w 113"/>
                  <a:gd name="T89" fmla="*/ 6 h 74"/>
                  <a:gd name="T90" fmla="*/ 5 w 113"/>
                  <a:gd name="T91" fmla="*/ 2 h 74"/>
                  <a:gd name="T92" fmla="*/ 6 w 113"/>
                  <a:gd name="T93" fmla="*/ 0 h 74"/>
                  <a:gd name="T94" fmla="*/ 13 w 113"/>
                  <a:gd name="T95" fmla="*/ 5 h 74"/>
                  <a:gd name="T96" fmla="*/ 10 w 113"/>
                  <a:gd name="T97" fmla="*/ 6 h 74"/>
                  <a:gd name="T98" fmla="*/ 9 w 113"/>
                  <a:gd name="T99" fmla="*/ 10 h 74"/>
                  <a:gd name="T100" fmla="*/ 21 w 113"/>
                  <a:gd name="T101" fmla="*/ 10 h 74"/>
                  <a:gd name="T102" fmla="*/ 38 w 113"/>
                  <a:gd name="T103" fmla="*/ 12 h 74"/>
                  <a:gd name="T104" fmla="*/ 58 w 113"/>
                  <a:gd name="T105" fmla="*/ 14 h 74"/>
                  <a:gd name="T106" fmla="*/ 65 w 113"/>
                  <a:gd name="T107" fmla="*/ 9 h 74"/>
                  <a:gd name="T108" fmla="*/ 81 w 113"/>
                  <a:gd name="T109" fmla="*/ 2 h 74"/>
                  <a:gd name="T110" fmla="*/ 92 w 113"/>
                  <a:gd name="T111" fmla="*/ 6 h 74"/>
                  <a:gd name="T112" fmla="*/ 98 w 113"/>
                  <a:gd name="T113" fmla="*/ 7 h 74"/>
                  <a:gd name="T114" fmla="*/ 102 w 113"/>
                  <a:gd name="T115" fmla="*/ 9 h 74"/>
                  <a:gd name="T116" fmla="*/ 109 w 113"/>
                  <a:gd name="T117" fmla="*/ 13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13" h="74">
                    <a:moveTo>
                      <a:pt x="113" y="13"/>
                    </a:moveTo>
                    <a:lnTo>
                      <a:pt x="113" y="19"/>
                    </a:lnTo>
                    <a:lnTo>
                      <a:pt x="111" y="21"/>
                    </a:lnTo>
                    <a:lnTo>
                      <a:pt x="109" y="20"/>
                    </a:lnTo>
                    <a:lnTo>
                      <a:pt x="105" y="21"/>
                    </a:lnTo>
                    <a:lnTo>
                      <a:pt x="104" y="24"/>
                    </a:lnTo>
                    <a:lnTo>
                      <a:pt x="102" y="26"/>
                    </a:lnTo>
                    <a:lnTo>
                      <a:pt x="101" y="27"/>
                    </a:lnTo>
                    <a:lnTo>
                      <a:pt x="101" y="31"/>
                    </a:lnTo>
                    <a:lnTo>
                      <a:pt x="101" y="37"/>
                    </a:lnTo>
                    <a:lnTo>
                      <a:pt x="99" y="38"/>
                    </a:lnTo>
                    <a:lnTo>
                      <a:pt x="98" y="38"/>
                    </a:lnTo>
                    <a:lnTo>
                      <a:pt x="94" y="44"/>
                    </a:lnTo>
                    <a:lnTo>
                      <a:pt x="97" y="46"/>
                    </a:lnTo>
                    <a:lnTo>
                      <a:pt x="98" y="46"/>
                    </a:lnTo>
                    <a:lnTo>
                      <a:pt x="99" y="51"/>
                    </a:lnTo>
                    <a:lnTo>
                      <a:pt x="102" y="55"/>
                    </a:lnTo>
                    <a:lnTo>
                      <a:pt x="104" y="56"/>
                    </a:lnTo>
                    <a:lnTo>
                      <a:pt x="101" y="56"/>
                    </a:lnTo>
                    <a:lnTo>
                      <a:pt x="99" y="56"/>
                    </a:lnTo>
                    <a:lnTo>
                      <a:pt x="99" y="56"/>
                    </a:lnTo>
                    <a:lnTo>
                      <a:pt x="98" y="56"/>
                    </a:lnTo>
                    <a:lnTo>
                      <a:pt x="97" y="56"/>
                    </a:lnTo>
                    <a:lnTo>
                      <a:pt x="95" y="58"/>
                    </a:lnTo>
                    <a:lnTo>
                      <a:pt x="94" y="58"/>
                    </a:lnTo>
                    <a:lnTo>
                      <a:pt x="94" y="58"/>
                    </a:lnTo>
                    <a:lnTo>
                      <a:pt x="91" y="55"/>
                    </a:lnTo>
                    <a:lnTo>
                      <a:pt x="90" y="53"/>
                    </a:lnTo>
                    <a:lnTo>
                      <a:pt x="90" y="53"/>
                    </a:lnTo>
                    <a:lnTo>
                      <a:pt x="88" y="53"/>
                    </a:lnTo>
                    <a:lnTo>
                      <a:pt x="84" y="55"/>
                    </a:lnTo>
                    <a:lnTo>
                      <a:pt x="84" y="55"/>
                    </a:lnTo>
                    <a:lnTo>
                      <a:pt x="83" y="56"/>
                    </a:lnTo>
                    <a:lnTo>
                      <a:pt x="81" y="56"/>
                    </a:lnTo>
                    <a:lnTo>
                      <a:pt x="78" y="56"/>
                    </a:lnTo>
                    <a:lnTo>
                      <a:pt x="77" y="56"/>
                    </a:lnTo>
                    <a:lnTo>
                      <a:pt x="77" y="58"/>
                    </a:lnTo>
                    <a:lnTo>
                      <a:pt x="76" y="58"/>
                    </a:lnTo>
                    <a:lnTo>
                      <a:pt x="76" y="59"/>
                    </a:lnTo>
                    <a:lnTo>
                      <a:pt x="76" y="60"/>
                    </a:lnTo>
                    <a:lnTo>
                      <a:pt x="73" y="60"/>
                    </a:lnTo>
                    <a:lnTo>
                      <a:pt x="73" y="62"/>
                    </a:lnTo>
                    <a:lnTo>
                      <a:pt x="72" y="62"/>
                    </a:lnTo>
                    <a:lnTo>
                      <a:pt x="72" y="63"/>
                    </a:lnTo>
                    <a:lnTo>
                      <a:pt x="70" y="62"/>
                    </a:lnTo>
                    <a:lnTo>
                      <a:pt x="69" y="62"/>
                    </a:lnTo>
                    <a:lnTo>
                      <a:pt x="67" y="63"/>
                    </a:lnTo>
                    <a:lnTo>
                      <a:pt x="67" y="63"/>
                    </a:lnTo>
                    <a:lnTo>
                      <a:pt x="67" y="65"/>
                    </a:lnTo>
                    <a:lnTo>
                      <a:pt x="69" y="65"/>
                    </a:lnTo>
                    <a:lnTo>
                      <a:pt x="69" y="67"/>
                    </a:lnTo>
                    <a:lnTo>
                      <a:pt x="69" y="69"/>
                    </a:lnTo>
                    <a:lnTo>
                      <a:pt x="69" y="70"/>
                    </a:lnTo>
                    <a:lnTo>
                      <a:pt x="67" y="72"/>
                    </a:lnTo>
                    <a:lnTo>
                      <a:pt x="65" y="73"/>
                    </a:lnTo>
                    <a:lnTo>
                      <a:pt x="63" y="72"/>
                    </a:lnTo>
                    <a:lnTo>
                      <a:pt x="62" y="73"/>
                    </a:lnTo>
                    <a:lnTo>
                      <a:pt x="59" y="73"/>
                    </a:lnTo>
                    <a:lnTo>
                      <a:pt x="58" y="73"/>
                    </a:lnTo>
                    <a:lnTo>
                      <a:pt x="55" y="73"/>
                    </a:lnTo>
                    <a:lnTo>
                      <a:pt x="53" y="74"/>
                    </a:lnTo>
                    <a:lnTo>
                      <a:pt x="51" y="73"/>
                    </a:lnTo>
                    <a:lnTo>
                      <a:pt x="48" y="72"/>
                    </a:lnTo>
                    <a:lnTo>
                      <a:pt x="45" y="70"/>
                    </a:lnTo>
                    <a:lnTo>
                      <a:pt x="45" y="72"/>
                    </a:lnTo>
                    <a:lnTo>
                      <a:pt x="44" y="72"/>
                    </a:lnTo>
                    <a:lnTo>
                      <a:pt x="42" y="70"/>
                    </a:lnTo>
                    <a:lnTo>
                      <a:pt x="41" y="69"/>
                    </a:lnTo>
                    <a:lnTo>
                      <a:pt x="41" y="69"/>
                    </a:lnTo>
                    <a:lnTo>
                      <a:pt x="39" y="66"/>
                    </a:lnTo>
                    <a:lnTo>
                      <a:pt x="39" y="66"/>
                    </a:lnTo>
                    <a:lnTo>
                      <a:pt x="37" y="67"/>
                    </a:lnTo>
                    <a:lnTo>
                      <a:pt x="35" y="67"/>
                    </a:lnTo>
                    <a:lnTo>
                      <a:pt x="34" y="67"/>
                    </a:lnTo>
                    <a:lnTo>
                      <a:pt x="31" y="67"/>
                    </a:lnTo>
                    <a:lnTo>
                      <a:pt x="31" y="69"/>
                    </a:lnTo>
                    <a:lnTo>
                      <a:pt x="30" y="69"/>
                    </a:lnTo>
                    <a:lnTo>
                      <a:pt x="30" y="69"/>
                    </a:lnTo>
                    <a:lnTo>
                      <a:pt x="28" y="69"/>
                    </a:lnTo>
                    <a:lnTo>
                      <a:pt x="26" y="70"/>
                    </a:lnTo>
                    <a:lnTo>
                      <a:pt x="23" y="70"/>
                    </a:lnTo>
                    <a:lnTo>
                      <a:pt x="21" y="70"/>
                    </a:lnTo>
                    <a:lnTo>
                      <a:pt x="20" y="70"/>
                    </a:lnTo>
                    <a:lnTo>
                      <a:pt x="19" y="70"/>
                    </a:lnTo>
                    <a:lnTo>
                      <a:pt x="16" y="70"/>
                    </a:lnTo>
                    <a:lnTo>
                      <a:pt x="14" y="72"/>
                    </a:lnTo>
                    <a:lnTo>
                      <a:pt x="13" y="72"/>
                    </a:lnTo>
                    <a:lnTo>
                      <a:pt x="10" y="72"/>
                    </a:lnTo>
                    <a:lnTo>
                      <a:pt x="10" y="72"/>
                    </a:lnTo>
                    <a:lnTo>
                      <a:pt x="12" y="65"/>
                    </a:lnTo>
                    <a:lnTo>
                      <a:pt x="12" y="63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0" y="62"/>
                    </a:lnTo>
                    <a:lnTo>
                      <a:pt x="10" y="59"/>
                    </a:lnTo>
                    <a:lnTo>
                      <a:pt x="9" y="56"/>
                    </a:lnTo>
                    <a:lnTo>
                      <a:pt x="9" y="55"/>
                    </a:lnTo>
                    <a:lnTo>
                      <a:pt x="6" y="55"/>
                    </a:lnTo>
                    <a:lnTo>
                      <a:pt x="5" y="53"/>
                    </a:lnTo>
                    <a:lnTo>
                      <a:pt x="3" y="52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2" y="46"/>
                    </a:lnTo>
                    <a:lnTo>
                      <a:pt x="3" y="45"/>
                    </a:lnTo>
                    <a:lnTo>
                      <a:pt x="3" y="44"/>
                    </a:lnTo>
                    <a:lnTo>
                      <a:pt x="3" y="44"/>
                    </a:lnTo>
                    <a:lnTo>
                      <a:pt x="2" y="42"/>
                    </a:lnTo>
                    <a:lnTo>
                      <a:pt x="2" y="41"/>
                    </a:lnTo>
                    <a:lnTo>
                      <a:pt x="2" y="38"/>
                    </a:lnTo>
                    <a:lnTo>
                      <a:pt x="2" y="37"/>
                    </a:lnTo>
                    <a:lnTo>
                      <a:pt x="2" y="37"/>
                    </a:lnTo>
                    <a:lnTo>
                      <a:pt x="2" y="35"/>
                    </a:lnTo>
                    <a:lnTo>
                      <a:pt x="3" y="34"/>
                    </a:lnTo>
                    <a:lnTo>
                      <a:pt x="3" y="34"/>
                    </a:lnTo>
                    <a:lnTo>
                      <a:pt x="6" y="34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10" y="30"/>
                    </a:lnTo>
                    <a:lnTo>
                      <a:pt x="10" y="28"/>
                    </a:lnTo>
                    <a:lnTo>
                      <a:pt x="12" y="27"/>
                    </a:lnTo>
                    <a:lnTo>
                      <a:pt x="12" y="27"/>
                    </a:lnTo>
                    <a:lnTo>
                      <a:pt x="9" y="26"/>
                    </a:lnTo>
                    <a:lnTo>
                      <a:pt x="9" y="24"/>
                    </a:lnTo>
                    <a:lnTo>
                      <a:pt x="7" y="23"/>
                    </a:lnTo>
                    <a:lnTo>
                      <a:pt x="6" y="21"/>
                    </a:lnTo>
                    <a:lnTo>
                      <a:pt x="3" y="20"/>
                    </a:lnTo>
                    <a:lnTo>
                      <a:pt x="3" y="19"/>
                    </a:lnTo>
                    <a:lnTo>
                      <a:pt x="2" y="16"/>
                    </a:lnTo>
                    <a:lnTo>
                      <a:pt x="2" y="14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7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5" y="5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7" y="2"/>
                    </a:lnTo>
                    <a:lnTo>
                      <a:pt x="10" y="3"/>
                    </a:lnTo>
                    <a:lnTo>
                      <a:pt x="13" y="5"/>
                    </a:lnTo>
                    <a:lnTo>
                      <a:pt x="13" y="5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9" y="7"/>
                    </a:lnTo>
                    <a:lnTo>
                      <a:pt x="9" y="9"/>
                    </a:lnTo>
                    <a:lnTo>
                      <a:pt x="9" y="10"/>
                    </a:lnTo>
                    <a:lnTo>
                      <a:pt x="10" y="10"/>
                    </a:lnTo>
                    <a:lnTo>
                      <a:pt x="16" y="9"/>
                    </a:lnTo>
                    <a:lnTo>
                      <a:pt x="21" y="10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5" y="13"/>
                    </a:lnTo>
                    <a:lnTo>
                      <a:pt x="51" y="14"/>
                    </a:lnTo>
                    <a:lnTo>
                      <a:pt x="58" y="14"/>
                    </a:lnTo>
                    <a:lnTo>
                      <a:pt x="60" y="13"/>
                    </a:lnTo>
                    <a:lnTo>
                      <a:pt x="63" y="12"/>
                    </a:lnTo>
                    <a:lnTo>
                      <a:pt x="65" y="9"/>
                    </a:lnTo>
                    <a:lnTo>
                      <a:pt x="70" y="6"/>
                    </a:lnTo>
                    <a:lnTo>
                      <a:pt x="76" y="5"/>
                    </a:lnTo>
                    <a:lnTo>
                      <a:pt x="81" y="2"/>
                    </a:lnTo>
                    <a:lnTo>
                      <a:pt x="85" y="2"/>
                    </a:lnTo>
                    <a:lnTo>
                      <a:pt x="87" y="2"/>
                    </a:lnTo>
                    <a:lnTo>
                      <a:pt x="92" y="6"/>
                    </a:lnTo>
                    <a:lnTo>
                      <a:pt x="95" y="6"/>
                    </a:lnTo>
                    <a:lnTo>
                      <a:pt x="97" y="6"/>
                    </a:lnTo>
                    <a:lnTo>
                      <a:pt x="98" y="7"/>
                    </a:lnTo>
                    <a:lnTo>
                      <a:pt x="98" y="7"/>
                    </a:lnTo>
                    <a:lnTo>
                      <a:pt x="101" y="6"/>
                    </a:lnTo>
                    <a:lnTo>
                      <a:pt x="102" y="9"/>
                    </a:lnTo>
                    <a:lnTo>
                      <a:pt x="104" y="10"/>
                    </a:lnTo>
                    <a:lnTo>
                      <a:pt x="106" y="12"/>
                    </a:lnTo>
                    <a:lnTo>
                      <a:pt x="109" y="13"/>
                    </a:lnTo>
                    <a:lnTo>
                      <a:pt x="111" y="13"/>
                    </a:lnTo>
                    <a:lnTo>
                      <a:pt x="113" y="13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46" name="Switzerland">
                <a:extLst>
                  <a:ext uri="{FF2B5EF4-FFF2-40B4-BE49-F238E27FC236}">
                    <a16:creationId xmlns:a16="http://schemas.microsoft.com/office/drawing/2014/main" id="{AAB2AFF7-A271-7F48-94D3-D26272E15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0539" y="2757517"/>
                <a:ext cx="64914" cy="39887"/>
              </a:xfrm>
              <a:custGeom>
                <a:avLst/>
                <a:gdLst>
                  <a:gd name="T0" fmla="*/ 67 w 83"/>
                  <a:gd name="T1" fmla="*/ 8 h 51"/>
                  <a:gd name="T2" fmla="*/ 64 w 83"/>
                  <a:gd name="T3" fmla="*/ 15 h 51"/>
                  <a:gd name="T4" fmla="*/ 64 w 83"/>
                  <a:gd name="T5" fmla="*/ 18 h 51"/>
                  <a:gd name="T6" fmla="*/ 69 w 83"/>
                  <a:gd name="T7" fmla="*/ 19 h 51"/>
                  <a:gd name="T8" fmla="*/ 71 w 83"/>
                  <a:gd name="T9" fmla="*/ 22 h 51"/>
                  <a:gd name="T10" fmla="*/ 77 w 83"/>
                  <a:gd name="T11" fmla="*/ 23 h 51"/>
                  <a:gd name="T12" fmla="*/ 83 w 83"/>
                  <a:gd name="T13" fmla="*/ 22 h 51"/>
                  <a:gd name="T14" fmla="*/ 81 w 83"/>
                  <a:gd name="T15" fmla="*/ 29 h 51"/>
                  <a:gd name="T16" fmla="*/ 81 w 83"/>
                  <a:gd name="T17" fmla="*/ 32 h 51"/>
                  <a:gd name="T18" fmla="*/ 77 w 83"/>
                  <a:gd name="T19" fmla="*/ 30 h 51"/>
                  <a:gd name="T20" fmla="*/ 76 w 83"/>
                  <a:gd name="T21" fmla="*/ 32 h 51"/>
                  <a:gd name="T22" fmla="*/ 76 w 83"/>
                  <a:gd name="T23" fmla="*/ 34 h 51"/>
                  <a:gd name="T24" fmla="*/ 77 w 83"/>
                  <a:gd name="T25" fmla="*/ 40 h 51"/>
                  <a:gd name="T26" fmla="*/ 74 w 83"/>
                  <a:gd name="T27" fmla="*/ 40 h 51"/>
                  <a:gd name="T28" fmla="*/ 71 w 83"/>
                  <a:gd name="T29" fmla="*/ 36 h 51"/>
                  <a:gd name="T30" fmla="*/ 66 w 83"/>
                  <a:gd name="T31" fmla="*/ 39 h 51"/>
                  <a:gd name="T32" fmla="*/ 63 w 83"/>
                  <a:gd name="T33" fmla="*/ 34 h 51"/>
                  <a:gd name="T34" fmla="*/ 62 w 83"/>
                  <a:gd name="T35" fmla="*/ 33 h 51"/>
                  <a:gd name="T36" fmla="*/ 60 w 83"/>
                  <a:gd name="T37" fmla="*/ 39 h 51"/>
                  <a:gd name="T38" fmla="*/ 56 w 83"/>
                  <a:gd name="T39" fmla="*/ 44 h 51"/>
                  <a:gd name="T40" fmla="*/ 56 w 83"/>
                  <a:gd name="T41" fmla="*/ 48 h 51"/>
                  <a:gd name="T42" fmla="*/ 55 w 83"/>
                  <a:gd name="T43" fmla="*/ 51 h 51"/>
                  <a:gd name="T44" fmla="*/ 52 w 83"/>
                  <a:gd name="T45" fmla="*/ 46 h 51"/>
                  <a:gd name="T46" fmla="*/ 49 w 83"/>
                  <a:gd name="T47" fmla="*/ 43 h 51"/>
                  <a:gd name="T48" fmla="*/ 45 w 83"/>
                  <a:gd name="T49" fmla="*/ 39 h 51"/>
                  <a:gd name="T50" fmla="*/ 45 w 83"/>
                  <a:gd name="T51" fmla="*/ 34 h 51"/>
                  <a:gd name="T52" fmla="*/ 42 w 83"/>
                  <a:gd name="T53" fmla="*/ 37 h 51"/>
                  <a:gd name="T54" fmla="*/ 39 w 83"/>
                  <a:gd name="T55" fmla="*/ 41 h 51"/>
                  <a:gd name="T56" fmla="*/ 38 w 83"/>
                  <a:gd name="T57" fmla="*/ 46 h 51"/>
                  <a:gd name="T58" fmla="*/ 30 w 83"/>
                  <a:gd name="T59" fmla="*/ 47 h 51"/>
                  <a:gd name="T60" fmla="*/ 25 w 83"/>
                  <a:gd name="T61" fmla="*/ 48 h 51"/>
                  <a:gd name="T62" fmla="*/ 20 w 83"/>
                  <a:gd name="T63" fmla="*/ 48 h 51"/>
                  <a:gd name="T64" fmla="*/ 17 w 83"/>
                  <a:gd name="T65" fmla="*/ 44 h 51"/>
                  <a:gd name="T66" fmla="*/ 16 w 83"/>
                  <a:gd name="T67" fmla="*/ 41 h 51"/>
                  <a:gd name="T68" fmla="*/ 16 w 83"/>
                  <a:gd name="T69" fmla="*/ 36 h 51"/>
                  <a:gd name="T70" fmla="*/ 12 w 83"/>
                  <a:gd name="T71" fmla="*/ 34 h 51"/>
                  <a:gd name="T72" fmla="*/ 6 w 83"/>
                  <a:gd name="T73" fmla="*/ 37 h 51"/>
                  <a:gd name="T74" fmla="*/ 6 w 83"/>
                  <a:gd name="T75" fmla="*/ 40 h 51"/>
                  <a:gd name="T76" fmla="*/ 2 w 83"/>
                  <a:gd name="T77" fmla="*/ 43 h 51"/>
                  <a:gd name="T78" fmla="*/ 2 w 83"/>
                  <a:gd name="T79" fmla="*/ 40 h 51"/>
                  <a:gd name="T80" fmla="*/ 3 w 83"/>
                  <a:gd name="T81" fmla="*/ 36 h 51"/>
                  <a:gd name="T82" fmla="*/ 3 w 83"/>
                  <a:gd name="T83" fmla="*/ 33 h 51"/>
                  <a:gd name="T84" fmla="*/ 6 w 83"/>
                  <a:gd name="T85" fmla="*/ 27 h 51"/>
                  <a:gd name="T86" fmla="*/ 9 w 83"/>
                  <a:gd name="T87" fmla="*/ 22 h 51"/>
                  <a:gd name="T88" fmla="*/ 13 w 83"/>
                  <a:gd name="T89" fmla="*/ 19 h 51"/>
                  <a:gd name="T90" fmla="*/ 18 w 83"/>
                  <a:gd name="T91" fmla="*/ 12 h 51"/>
                  <a:gd name="T92" fmla="*/ 20 w 83"/>
                  <a:gd name="T93" fmla="*/ 11 h 51"/>
                  <a:gd name="T94" fmla="*/ 17 w 83"/>
                  <a:gd name="T95" fmla="*/ 9 h 51"/>
                  <a:gd name="T96" fmla="*/ 21 w 83"/>
                  <a:gd name="T97" fmla="*/ 6 h 51"/>
                  <a:gd name="T98" fmla="*/ 23 w 83"/>
                  <a:gd name="T99" fmla="*/ 8 h 51"/>
                  <a:gd name="T100" fmla="*/ 27 w 83"/>
                  <a:gd name="T101" fmla="*/ 8 h 51"/>
                  <a:gd name="T102" fmla="*/ 31 w 83"/>
                  <a:gd name="T103" fmla="*/ 4 h 51"/>
                  <a:gd name="T104" fmla="*/ 39 w 83"/>
                  <a:gd name="T105" fmla="*/ 4 h 51"/>
                  <a:gd name="T106" fmla="*/ 45 w 83"/>
                  <a:gd name="T107" fmla="*/ 4 h 51"/>
                  <a:gd name="T108" fmla="*/ 46 w 83"/>
                  <a:gd name="T109" fmla="*/ 4 h 51"/>
                  <a:gd name="T110" fmla="*/ 48 w 83"/>
                  <a:gd name="T111" fmla="*/ 2 h 51"/>
                  <a:gd name="T112" fmla="*/ 45 w 83"/>
                  <a:gd name="T113" fmla="*/ 2 h 51"/>
                  <a:gd name="T114" fmla="*/ 46 w 83"/>
                  <a:gd name="T115" fmla="*/ 0 h 51"/>
                  <a:gd name="T116" fmla="*/ 51 w 83"/>
                  <a:gd name="T117" fmla="*/ 1 h 51"/>
                  <a:gd name="T118" fmla="*/ 52 w 83"/>
                  <a:gd name="T119" fmla="*/ 1 h 51"/>
                  <a:gd name="T120" fmla="*/ 53 w 83"/>
                  <a:gd name="T121" fmla="*/ 2 h 51"/>
                  <a:gd name="T122" fmla="*/ 62 w 83"/>
                  <a:gd name="T123" fmla="*/ 4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3" h="51">
                    <a:moveTo>
                      <a:pt x="66" y="5"/>
                    </a:moveTo>
                    <a:lnTo>
                      <a:pt x="66" y="6"/>
                    </a:lnTo>
                    <a:lnTo>
                      <a:pt x="67" y="8"/>
                    </a:lnTo>
                    <a:lnTo>
                      <a:pt x="67" y="9"/>
                    </a:lnTo>
                    <a:lnTo>
                      <a:pt x="66" y="12"/>
                    </a:lnTo>
                    <a:lnTo>
                      <a:pt x="64" y="15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6" y="18"/>
                    </a:lnTo>
                    <a:lnTo>
                      <a:pt x="67" y="18"/>
                    </a:lnTo>
                    <a:lnTo>
                      <a:pt x="69" y="19"/>
                    </a:lnTo>
                    <a:lnTo>
                      <a:pt x="71" y="19"/>
                    </a:lnTo>
                    <a:lnTo>
                      <a:pt x="71" y="20"/>
                    </a:lnTo>
                    <a:lnTo>
                      <a:pt x="71" y="22"/>
                    </a:lnTo>
                    <a:lnTo>
                      <a:pt x="74" y="23"/>
                    </a:lnTo>
                    <a:lnTo>
                      <a:pt x="76" y="23"/>
                    </a:lnTo>
                    <a:lnTo>
                      <a:pt x="77" y="23"/>
                    </a:lnTo>
                    <a:lnTo>
                      <a:pt x="80" y="20"/>
                    </a:lnTo>
                    <a:lnTo>
                      <a:pt x="81" y="20"/>
                    </a:lnTo>
                    <a:lnTo>
                      <a:pt x="83" y="22"/>
                    </a:lnTo>
                    <a:lnTo>
                      <a:pt x="83" y="23"/>
                    </a:lnTo>
                    <a:lnTo>
                      <a:pt x="81" y="26"/>
                    </a:lnTo>
                    <a:lnTo>
                      <a:pt x="81" y="29"/>
                    </a:lnTo>
                    <a:lnTo>
                      <a:pt x="81" y="30"/>
                    </a:lnTo>
                    <a:lnTo>
                      <a:pt x="83" y="30"/>
                    </a:lnTo>
                    <a:lnTo>
                      <a:pt x="81" y="32"/>
                    </a:lnTo>
                    <a:lnTo>
                      <a:pt x="80" y="32"/>
                    </a:lnTo>
                    <a:lnTo>
                      <a:pt x="78" y="32"/>
                    </a:lnTo>
                    <a:lnTo>
                      <a:pt x="77" y="30"/>
                    </a:lnTo>
                    <a:lnTo>
                      <a:pt x="77" y="30"/>
                    </a:lnTo>
                    <a:lnTo>
                      <a:pt x="76" y="30"/>
                    </a:lnTo>
                    <a:lnTo>
                      <a:pt x="76" y="32"/>
                    </a:lnTo>
                    <a:lnTo>
                      <a:pt x="74" y="33"/>
                    </a:lnTo>
                    <a:lnTo>
                      <a:pt x="74" y="34"/>
                    </a:lnTo>
                    <a:lnTo>
                      <a:pt x="76" y="34"/>
                    </a:lnTo>
                    <a:lnTo>
                      <a:pt x="76" y="37"/>
                    </a:lnTo>
                    <a:lnTo>
                      <a:pt x="76" y="39"/>
                    </a:lnTo>
                    <a:lnTo>
                      <a:pt x="77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4" y="40"/>
                    </a:lnTo>
                    <a:lnTo>
                      <a:pt x="73" y="37"/>
                    </a:lnTo>
                    <a:lnTo>
                      <a:pt x="73" y="37"/>
                    </a:lnTo>
                    <a:lnTo>
                      <a:pt x="71" y="36"/>
                    </a:lnTo>
                    <a:lnTo>
                      <a:pt x="70" y="37"/>
                    </a:lnTo>
                    <a:lnTo>
                      <a:pt x="67" y="39"/>
                    </a:lnTo>
                    <a:lnTo>
                      <a:pt x="66" y="39"/>
                    </a:lnTo>
                    <a:lnTo>
                      <a:pt x="66" y="39"/>
                    </a:lnTo>
                    <a:lnTo>
                      <a:pt x="64" y="37"/>
                    </a:lnTo>
                    <a:lnTo>
                      <a:pt x="63" y="34"/>
                    </a:lnTo>
                    <a:lnTo>
                      <a:pt x="63" y="33"/>
                    </a:lnTo>
                    <a:lnTo>
                      <a:pt x="63" y="33"/>
                    </a:lnTo>
                    <a:lnTo>
                      <a:pt x="62" y="33"/>
                    </a:lnTo>
                    <a:lnTo>
                      <a:pt x="60" y="33"/>
                    </a:lnTo>
                    <a:lnTo>
                      <a:pt x="60" y="36"/>
                    </a:lnTo>
                    <a:lnTo>
                      <a:pt x="60" y="39"/>
                    </a:lnTo>
                    <a:lnTo>
                      <a:pt x="59" y="40"/>
                    </a:lnTo>
                    <a:lnTo>
                      <a:pt x="57" y="43"/>
                    </a:lnTo>
                    <a:lnTo>
                      <a:pt x="56" y="44"/>
                    </a:lnTo>
                    <a:lnTo>
                      <a:pt x="56" y="46"/>
                    </a:lnTo>
                    <a:lnTo>
                      <a:pt x="56" y="47"/>
                    </a:lnTo>
                    <a:lnTo>
                      <a:pt x="56" y="48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5" y="51"/>
                    </a:lnTo>
                    <a:lnTo>
                      <a:pt x="53" y="50"/>
                    </a:lnTo>
                    <a:lnTo>
                      <a:pt x="53" y="48"/>
                    </a:lnTo>
                    <a:lnTo>
                      <a:pt x="52" y="46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49" y="43"/>
                    </a:lnTo>
                    <a:lnTo>
                      <a:pt x="48" y="41"/>
                    </a:lnTo>
                    <a:lnTo>
                      <a:pt x="46" y="40"/>
                    </a:lnTo>
                    <a:lnTo>
                      <a:pt x="45" y="39"/>
                    </a:lnTo>
                    <a:lnTo>
                      <a:pt x="45" y="36"/>
                    </a:lnTo>
                    <a:lnTo>
                      <a:pt x="45" y="34"/>
                    </a:lnTo>
                    <a:lnTo>
                      <a:pt x="45" y="34"/>
                    </a:lnTo>
                    <a:lnTo>
                      <a:pt x="45" y="34"/>
                    </a:lnTo>
                    <a:lnTo>
                      <a:pt x="44" y="36"/>
                    </a:lnTo>
                    <a:lnTo>
                      <a:pt x="42" y="37"/>
                    </a:lnTo>
                    <a:lnTo>
                      <a:pt x="39" y="39"/>
                    </a:lnTo>
                    <a:lnTo>
                      <a:pt x="39" y="40"/>
                    </a:lnTo>
                    <a:lnTo>
                      <a:pt x="39" y="41"/>
                    </a:lnTo>
                    <a:lnTo>
                      <a:pt x="39" y="41"/>
                    </a:lnTo>
                    <a:lnTo>
                      <a:pt x="38" y="44"/>
                    </a:lnTo>
                    <a:lnTo>
                      <a:pt x="38" y="46"/>
                    </a:lnTo>
                    <a:lnTo>
                      <a:pt x="35" y="47"/>
                    </a:lnTo>
                    <a:lnTo>
                      <a:pt x="34" y="48"/>
                    </a:lnTo>
                    <a:lnTo>
                      <a:pt x="30" y="47"/>
                    </a:lnTo>
                    <a:lnTo>
                      <a:pt x="30" y="47"/>
                    </a:lnTo>
                    <a:lnTo>
                      <a:pt x="28" y="47"/>
                    </a:lnTo>
                    <a:lnTo>
                      <a:pt x="25" y="48"/>
                    </a:lnTo>
                    <a:lnTo>
                      <a:pt x="21" y="50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7"/>
                    </a:lnTo>
                    <a:lnTo>
                      <a:pt x="18" y="46"/>
                    </a:lnTo>
                    <a:lnTo>
                      <a:pt x="17" y="44"/>
                    </a:lnTo>
                    <a:lnTo>
                      <a:pt x="17" y="44"/>
                    </a:lnTo>
                    <a:lnTo>
                      <a:pt x="16" y="43"/>
                    </a:lnTo>
                    <a:lnTo>
                      <a:pt x="16" y="41"/>
                    </a:lnTo>
                    <a:lnTo>
                      <a:pt x="16" y="39"/>
                    </a:lnTo>
                    <a:lnTo>
                      <a:pt x="16" y="37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4" y="36"/>
                    </a:lnTo>
                    <a:lnTo>
                      <a:pt x="12" y="34"/>
                    </a:lnTo>
                    <a:lnTo>
                      <a:pt x="9" y="34"/>
                    </a:lnTo>
                    <a:lnTo>
                      <a:pt x="7" y="36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6" y="39"/>
                    </a:lnTo>
                    <a:lnTo>
                      <a:pt x="6" y="40"/>
                    </a:lnTo>
                    <a:lnTo>
                      <a:pt x="5" y="41"/>
                    </a:lnTo>
                    <a:lnTo>
                      <a:pt x="3" y="43"/>
                    </a:lnTo>
                    <a:lnTo>
                      <a:pt x="2" y="43"/>
                    </a:lnTo>
                    <a:lnTo>
                      <a:pt x="0" y="43"/>
                    </a:lnTo>
                    <a:lnTo>
                      <a:pt x="0" y="40"/>
                    </a:lnTo>
                    <a:lnTo>
                      <a:pt x="2" y="40"/>
                    </a:lnTo>
                    <a:lnTo>
                      <a:pt x="3" y="39"/>
                    </a:lnTo>
                    <a:lnTo>
                      <a:pt x="3" y="37"/>
                    </a:lnTo>
                    <a:lnTo>
                      <a:pt x="3" y="36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3" y="33"/>
                    </a:lnTo>
                    <a:lnTo>
                      <a:pt x="3" y="32"/>
                    </a:lnTo>
                    <a:lnTo>
                      <a:pt x="5" y="30"/>
                    </a:lnTo>
                    <a:lnTo>
                      <a:pt x="6" y="27"/>
                    </a:lnTo>
                    <a:lnTo>
                      <a:pt x="9" y="26"/>
                    </a:lnTo>
                    <a:lnTo>
                      <a:pt x="9" y="25"/>
                    </a:lnTo>
                    <a:lnTo>
                      <a:pt x="9" y="22"/>
                    </a:lnTo>
                    <a:lnTo>
                      <a:pt x="10" y="20"/>
                    </a:lnTo>
                    <a:lnTo>
                      <a:pt x="13" y="19"/>
                    </a:lnTo>
                    <a:lnTo>
                      <a:pt x="13" y="19"/>
                    </a:lnTo>
                    <a:lnTo>
                      <a:pt x="14" y="18"/>
                    </a:lnTo>
                    <a:lnTo>
                      <a:pt x="16" y="15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0" y="11"/>
                    </a:lnTo>
                    <a:lnTo>
                      <a:pt x="20" y="11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17" y="9"/>
                    </a:lnTo>
                    <a:lnTo>
                      <a:pt x="18" y="8"/>
                    </a:lnTo>
                    <a:lnTo>
                      <a:pt x="20" y="6"/>
                    </a:lnTo>
                    <a:lnTo>
                      <a:pt x="21" y="6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3" y="8"/>
                    </a:lnTo>
                    <a:lnTo>
                      <a:pt x="24" y="8"/>
                    </a:lnTo>
                    <a:lnTo>
                      <a:pt x="25" y="8"/>
                    </a:lnTo>
                    <a:lnTo>
                      <a:pt x="27" y="8"/>
                    </a:lnTo>
                    <a:lnTo>
                      <a:pt x="28" y="6"/>
                    </a:lnTo>
                    <a:lnTo>
                      <a:pt x="28" y="5"/>
                    </a:lnTo>
                    <a:lnTo>
                      <a:pt x="31" y="4"/>
                    </a:lnTo>
                    <a:lnTo>
                      <a:pt x="32" y="5"/>
                    </a:lnTo>
                    <a:lnTo>
                      <a:pt x="37" y="5"/>
                    </a:lnTo>
                    <a:lnTo>
                      <a:pt x="39" y="4"/>
                    </a:lnTo>
                    <a:lnTo>
                      <a:pt x="41" y="4"/>
                    </a:lnTo>
                    <a:lnTo>
                      <a:pt x="44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46" y="2"/>
                    </a:lnTo>
                    <a:lnTo>
                      <a:pt x="45" y="2"/>
                    </a:lnTo>
                    <a:lnTo>
                      <a:pt x="45" y="1"/>
                    </a:lnTo>
                    <a:lnTo>
                      <a:pt x="45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49" y="0"/>
                    </a:lnTo>
                    <a:lnTo>
                      <a:pt x="51" y="1"/>
                    </a:lnTo>
                    <a:lnTo>
                      <a:pt x="52" y="1"/>
                    </a:lnTo>
                    <a:lnTo>
                      <a:pt x="52" y="1"/>
                    </a:lnTo>
                    <a:lnTo>
                      <a:pt x="52" y="1"/>
                    </a:lnTo>
                    <a:lnTo>
                      <a:pt x="53" y="1"/>
                    </a:lnTo>
                    <a:lnTo>
                      <a:pt x="53" y="2"/>
                    </a:lnTo>
                    <a:lnTo>
                      <a:pt x="53" y="2"/>
                    </a:lnTo>
                    <a:lnTo>
                      <a:pt x="57" y="2"/>
                    </a:lnTo>
                    <a:lnTo>
                      <a:pt x="59" y="2"/>
                    </a:lnTo>
                    <a:lnTo>
                      <a:pt x="62" y="4"/>
                    </a:lnTo>
                    <a:lnTo>
                      <a:pt x="66" y="5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48" name="Czech Republic">
                <a:extLst>
                  <a:ext uri="{FF2B5EF4-FFF2-40B4-BE49-F238E27FC236}">
                    <a16:creationId xmlns:a16="http://schemas.microsoft.com/office/drawing/2014/main" id="{540E9A2C-AE4A-3B8D-60A5-608A894CD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98134" y="2685564"/>
                <a:ext cx="95416" cy="53965"/>
              </a:xfrm>
              <a:custGeom>
                <a:avLst/>
                <a:gdLst>
                  <a:gd name="T0" fmla="*/ 53 w 122"/>
                  <a:gd name="T1" fmla="*/ 4 h 69"/>
                  <a:gd name="T2" fmla="*/ 57 w 122"/>
                  <a:gd name="T3" fmla="*/ 2 h 69"/>
                  <a:gd name="T4" fmla="*/ 60 w 122"/>
                  <a:gd name="T5" fmla="*/ 7 h 69"/>
                  <a:gd name="T6" fmla="*/ 68 w 122"/>
                  <a:gd name="T7" fmla="*/ 9 h 69"/>
                  <a:gd name="T8" fmla="*/ 71 w 122"/>
                  <a:gd name="T9" fmla="*/ 12 h 69"/>
                  <a:gd name="T10" fmla="*/ 78 w 122"/>
                  <a:gd name="T11" fmla="*/ 13 h 69"/>
                  <a:gd name="T12" fmla="*/ 78 w 122"/>
                  <a:gd name="T13" fmla="*/ 15 h 69"/>
                  <a:gd name="T14" fmla="*/ 75 w 122"/>
                  <a:gd name="T15" fmla="*/ 19 h 69"/>
                  <a:gd name="T16" fmla="*/ 79 w 122"/>
                  <a:gd name="T17" fmla="*/ 23 h 69"/>
                  <a:gd name="T18" fmla="*/ 83 w 122"/>
                  <a:gd name="T19" fmla="*/ 26 h 69"/>
                  <a:gd name="T20" fmla="*/ 89 w 122"/>
                  <a:gd name="T21" fmla="*/ 23 h 69"/>
                  <a:gd name="T22" fmla="*/ 86 w 122"/>
                  <a:gd name="T23" fmla="*/ 18 h 69"/>
                  <a:gd name="T24" fmla="*/ 97 w 122"/>
                  <a:gd name="T25" fmla="*/ 22 h 69"/>
                  <a:gd name="T26" fmla="*/ 102 w 122"/>
                  <a:gd name="T27" fmla="*/ 22 h 69"/>
                  <a:gd name="T28" fmla="*/ 100 w 122"/>
                  <a:gd name="T29" fmla="*/ 26 h 69"/>
                  <a:gd name="T30" fmla="*/ 103 w 122"/>
                  <a:gd name="T31" fmla="*/ 29 h 69"/>
                  <a:gd name="T32" fmla="*/ 107 w 122"/>
                  <a:gd name="T33" fmla="*/ 29 h 69"/>
                  <a:gd name="T34" fmla="*/ 108 w 122"/>
                  <a:gd name="T35" fmla="*/ 30 h 69"/>
                  <a:gd name="T36" fmla="*/ 114 w 122"/>
                  <a:gd name="T37" fmla="*/ 32 h 69"/>
                  <a:gd name="T38" fmla="*/ 117 w 122"/>
                  <a:gd name="T39" fmla="*/ 34 h 69"/>
                  <a:gd name="T40" fmla="*/ 122 w 122"/>
                  <a:gd name="T41" fmla="*/ 43 h 69"/>
                  <a:gd name="T42" fmla="*/ 118 w 122"/>
                  <a:gd name="T43" fmla="*/ 44 h 69"/>
                  <a:gd name="T44" fmla="*/ 114 w 122"/>
                  <a:gd name="T45" fmla="*/ 47 h 69"/>
                  <a:gd name="T46" fmla="*/ 108 w 122"/>
                  <a:gd name="T47" fmla="*/ 53 h 69"/>
                  <a:gd name="T48" fmla="*/ 106 w 122"/>
                  <a:gd name="T49" fmla="*/ 57 h 69"/>
                  <a:gd name="T50" fmla="*/ 103 w 122"/>
                  <a:gd name="T51" fmla="*/ 61 h 69"/>
                  <a:gd name="T52" fmla="*/ 92 w 122"/>
                  <a:gd name="T53" fmla="*/ 61 h 69"/>
                  <a:gd name="T54" fmla="*/ 88 w 122"/>
                  <a:gd name="T55" fmla="*/ 69 h 69"/>
                  <a:gd name="T56" fmla="*/ 85 w 122"/>
                  <a:gd name="T57" fmla="*/ 65 h 69"/>
                  <a:gd name="T58" fmla="*/ 79 w 122"/>
                  <a:gd name="T59" fmla="*/ 64 h 69"/>
                  <a:gd name="T60" fmla="*/ 72 w 122"/>
                  <a:gd name="T61" fmla="*/ 64 h 69"/>
                  <a:gd name="T62" fmla="*/ 64 w 122"/>
                  <a:gd name="T63" fmla="*/ 61 h 69"/>
                  <a:gd name="T64" fmla="*/ 57 w 122"/>
                  <a:gd name="T65" fmla="*/ 59 h 69"/>
                  <a:gd name="T66" fmla="*/ 53 w 122"/>
                  <a:gd name="T67" fmla="*/ 58 h 69"/>
                  <a:gd name="T68" fmla="*/ 50 w 122"/>
                  <a:gd name="T69" fmla="*/ 64 h 69"/>
                  <a:gd name="T70" fmla="*/ 44 w 122"/>
                  <a:gd name="T71" fmla="*/ 68 h 69"/>
                  <a:gd name="T72" fmla="*/ 37 w 122"/>
                  <a:gd name="T73" fmla="*/ 69 h 69"/>
                  <a:gd name="T74" fmla="*/ 32 w 122"/>
                  <a:gd name="T75" fmla="*/ 64 h 69"/>
                  <a:gd name="T76" fmla="*/ 26 w 122"/>
                  <a:gd name="T77" fmla="*/ 58 h 69"/>
                  <a:gd name="T78" fmla="*/ 22 w 122"/>
                  <a:gd name="T79" fmla="*/ 55 h 69"/>
                  <a:gd name="T80" fmla="*/ 17 w 122"/>
                  <a:gd name="T81" fmla="*/ 50 h 69"/>
                  <a:gd name="T82" fmla="*/ 11 w 122"/>
                  <a:gd name="T83" fmla="*/ 46 h 69"/>
                  <a:gd name="T84" fmla="*/ 7 w 122"/>
                  <a:gd name="T85" fmla="*/ 39 h 69"/>
                  <a:gd name="T86" fmla="*/ 7 w 122"/>
                  <a:gd name="T87" fmla="*/ 34 h 69"/>
                  <a:gd name="T88" fmla="*/ 7 w 122"/>
                  <a:gd name="T89" fmla="*/ 30 h 69"/>
                  <a:gd name="T90" fmla="*/ 1 w 122"/>
                  <a:gd name="T91" fmla="*/ 26 h 69"/>
                  <a:gd name="T92" fmla="*/ 0 w 122"/>
                  <a:gd name="T93" fmla="*/ 20 h 69"/>
                  <a:gd name="T94" fmla="*/ 3 w 122"/>
                  <a:gd name="T95" fmla="*/ 23 h 69"/>
                  <a:gd name="T96" fmla="*/ 7 w 122"/>
                  <a:gd name="T97" fmla="*/ 19 h 69"/>
                  <a:gd name="T98" fmla="*/ 12 w 122"/>
                  <a:gd name="T99" fmla="*/ 18 h 69"/>
                  <a:gd name="T100" fmla="*/ 17 w 122"/>
                  <a:gd name="T101" fmla="*/ 16 h 69"/>
                  <a:gd name="T102" fmla="*/ 21 w 122"/>
                  <a:gd name="T103" fmla="*/ 13 h 69"/>
                  <a:gd name="T104" fmla="*/ 23 w 122"/>
                  <a:gd name="T105" fmla="*/ 12 h 69"/>
                  <a:gd name="T106" fmla="*/ 26 w 122"/>
                  <a:gd name="T107" fmla="*/ 9 h 69"/>
                  <a:gd name="T108" fmla="*/ 36 w 122"/>
                  <a:gd name="T109" fmla="*/ 7 h 69"/>
                  <a:gd name="T110" fmla="*/ 40 w 122"/>
                  <a:gd name="T111" fmla="*/ 2 h 69"/>
                  <a:gd name="T112" fmla="*/ 40 w 122"/>
                  <a:gd name="T113" fmla="*/ 0 h 69"/>
                  <a:gd name="T114" fmla="*/ 44 w 122"/>
                  <a:gd name="T115" fmla="*/ 2 h 69"/>
                  <a:gd name="T116" fmla="*/ 46 w 122"/>
                  <a:gd name="T117" fmla="*/ 7 h 69"/>
                  <a:gd name="T118" fmla="*/ 49 w 122"/>
                  <a:gd name="T119" fmla="*/ 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2" h="69">
                    <a:moveTo>
                      <a:pt x="49" y="5"/>
                    </a:moveTo>
                    <a:lnTo>
                      <a:pt x="51" y="5"/>
                    </a:lnTo>
                    <a:lnTo>
                      <a:pt x="53" y="4"/>
                    </a:lnTo>
                    <a:lnTo>
                      <a:pt x="53" y="4"/>
                    </a:lnTo>
                    <a:lnTo>
                      <a:pt x="53" y="1"/>
                    </a:lnTo>
                    <a:lnTo>
                      <a:pt x="53" y="1"/>
                    </a:lnTo>
                    <a:lnTo>
                      <a:pt x="56" y="1"/>
                    </a:lnTo>
                    <a:lnTo>
                      <a:pt x="57" y="2"/>
                    </a:lnTo>
                    <a:lnTo>
                      <a:pt x="58" y="5"/>
                    </a:lnTo>
                    <a:lnTo>
                      <a:pt x="58" y="5"/>
                    </a:lnTo>
                    <a:lnTo>
                      <a:pt x="60" y="7"/>
                    </a:lnTo>
                    <a:lnTo>
                      <a:pt x="60" y="7"/>
                    </a:lnTo>
                    <a:lnTo>
                      <a:pt x="61" y="7"/>
                    </a:lnTo>
                    <a:lnTo>
                      <a:pt x="64" y="8"/>
                    </a:lnTo>
                    <a:lnTo>
                      <a:pt x="65" y="9"/>
                    </a:lnTo>
                    <a:lnTo>
                      <a:pt x="68" y="9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71" y="12"/>
                    </a:lnTo>
                    <a:lnTo>
                      <a:pt x="71" y="12"/>
                    </a:lnTo>
                    <a:lnTo>
                      <a:pt x="72" y="12"/>
                    </a:lnTo>
                    <a:lnTo>
                      <a:pt x="76" y="11"/>
                    </a:lnTo>
                    <a:lnTo>
                      <a:pt x="78" y="12"/>
                    </a:lnTo>
                    <a:lnTo>
                      <a:pt x="78" y="13"/>
                    </a:lnTo>
                    <a:lnTo>
                      <a:pt x="78" y="13"/>
                    </a:lnTo>
                    <a:lnTo>
                      <a:pt x="78" y="15"/>
                    </a:lnTo>
                    <a:lnTo>
                      <a:pt x="78" y="15"/>
                    </a:lnTo>
                    <a:lnTo>
                      <a:pt x="78" y="15"/>
                    </a:lnTo>
                    <a:lnTo>
                      <a:pt x="76" y="16"/>
                    </a:lnTo>
                    <a:lnTo>
                      <a:pt x="75" y="16"/>
                    </a:lnTo>
                    <a:lnTo>
                      <a:pt x="75" y="18"/>
                    </a:lnTo>
                    <a:lnTo>
                      <a:pt x="75" y="19"/>
                    </a:lnTo>
                    <a:lnTo>
                      <a:pt x="76" y="19"/>
                    </a:lnTo>
                    <a:lnTo>
                      <a:pt x="76" y="19"/>
                    </a:lnTo>
                    <a:lnTo>
                      <a:pt x="78" y="20"/>
                    </a:lnTo>
                    <a:lnTo>
                      <a:pt x="79" y="23"/>
                    </a:lnTo>
                    <a:lnTo>
                      <a:pt x="82" y="26"/>
                    </a:lnTo>
                    <a:lnTo>
                      <a:pt x="82" y="27"/>
                    </a:lnTo>
                    <a:lnTo>
                      <a:pt x="83" y="27"/>
                    </a:lnTo>
                    <a:lnTo>
                      <a:pt x="83" y="26"/>
                    </a:lnTo>
                    <a:lnTo>
                      <a:pt x="85" y="25"/>
                    </a:lnTo>
                    <a:lnTo>
                      <a:pt x="86" y="25"/>
                    </a:lnTo>
                    <a:lnTo>
                      <a:pt x="88" y="23"/>
                    </a:lnTo>
                    <a:lnTo>
                      <a:pt x="89" y="23"/>
                    </a:lnTo>
                    <a:lnTo>
                      <a:pt x="89" y="22"/>
                    </a:lnTo>
                    <a:lnTo>
                      <a:pt x="88" y="20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9" y="18"/>
                    </a:lnTo>
                    <a:lnTo>
                      <a:pt x="92" y="19"/>
                    </a:lnTo>
                    <a:lnTo>
                      <a:pt x="96" y="22"/>
                    </a:lnTo>
                    <a:lnTo>
                      <a:pt x="97" y="22"/>
                    </a:lnTo>
                    <a:lnTo>
                      <a:pt x="99" y="22"/>
                    </a:lnTo>
                    <a:lnTo>
                      <a:pt x="102" y="22"/>
                    </a:lnTo>
                    <a:lnTo>
                      <a:pt x="102" y="20"/>
                    </a:lnTo>
                    <a:lnTo>
                      <a:pt x="102" y="22"/>
                    </a:lnTo>
                    <a:lnTo>
                      <a:pt x="103" y="23"/>
                    </a:lnTo>
                    <a:lnTo>
                      <a:pt x="102" y="25"/>
                    </a:lnTo>
                    <a:lnTo>
                      <a:pt x="100" y="25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2" y="27"/>
                    </a:lnTo>
                    <a:lnTo>
                      <a:pt x="103" y="27"/>
                    </a:lnTo>
                    <a:lnTo>
                      <a:pt x="103" y="29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7" y="30"/>
                    </a:lnTo>
                    <a:lnTo>
                      <a:pt x="107" y="29"/>
                    </a:lnTo>
                    <a:lnTo>
                      <a:pt x="107" y="29"/>
                    </a:lnTo>
                    <a:lnTo>
                      <a:pt x="108" y="29"/>
                    </a:lnTo>
                    <a:lnTo>
                      <a:pt x="108" y="29"/>
                    </a:lnTo>
                    <a:lnTo>
                      <a:pt x="108" y="30"/>
                    </a:lnTo>
                    <a:lnTo>
                      <a:pt x="111" y="30"/>
                    </a:lnTo>
                    <a:lnTo>
                      <a:pt x="111" y="32"/>
                    </a:lnTo>
                    <a:lnTo>
                      <a:pt x="113" y="32"/>
                    </a:lnTo>
                    <a:lnTo>
                      <a:pt x="114" y="32"/>
                    </a:lnTo>
                    <a:lnTo>
                      <a:pt x="117" y="33"/>
                    </a:lnTo>
                    <a:lnTo>
                      <a:pt x="117" y="33"/>
                    </a:lnTo>
                    <a:lnTo>
                      <a:pt x="118" y="34"/>
                    </a:lnTo>
                    <a:lnTo>
                      <a:pt x="117" y="34"/>
                    </a:lnTo>
                    <a:lnTo>
                      <a:pt x="118" y="36"/>
                    </a:lnTo>
                    <a:lnTo>
                      <a:pt x="122" y="40"/>
                    </a:lnTo>
                    <a:lnTo>
                      <a:pt x="122" y="43"/>
                    </a:lnTo>
                    <a:lnTo>
                      <a:pt x="122" y="43"/>
                    </a:lnTo>
                    <a:lnTo>
                      <a:pt x="122" y="43"/>
                    </a:lnTo>
                    <a:lnTo>
                      <a:pt x="121" y="44"/>
                    </a:lnTo>
                    <a:lnTo>
                      <a:pt x="120" y="44"/>
                    </a:lnTo>
                    <a:lnTo>
                      <a:pt x="118" y="44"/>
                    </a:lnTo>
                    <a:lnTo>
                      <a:pt x="117" y="44"/>
                    </a:lnTo>
                    <a:lnTo>
                      <a:pt x="115" y="46"/>
                    </a:lnTo>
                    <a:lnTo>
                      <a:pt x="114" y="47"/>
                    </a:lnTo>
                    <a:lnTo>
                      <a:pt x="114" y="47"/>
                    </a:lnTo>
                    <a:lnTo>
                      <a:pt x="114" y="48"/>
                    </a:lnTo>
                    <a:lnTo>
                      <a:pt x="110" y="50"/>
                    </a:lnTo>
                    <a:lnTo>
                      <a:pt x="110" y="51"/>
                    </a:lnTo>
                    <a:lnTo>
                      <a:pt x="108" y="53"/>
                    </a:lnTo>
                    <a:lnTo>
                      <a:pt x="108" y="54"/>
                    </a:lnTo>
                    <a:lnTo>
                      <a:pt x="108" y="55"/>
                    </a:lnTo>
                    <a:lnTo>
                      <a:pt x="108" y="57"/>
                    </a:lnTo>
                    <a:lnTo>
                      <a:pt x="106" y="57"/>
                    </a:lnTo>
                    <a:lnTo>
                      <a:pt x="106" y="58"/>
                    </a:lnTo>
                    <a:lnTo>
                      <a:pt x="106" y="58"/>
                    </a:lnTo>
                    <a:lnTo>
                      <a:pt x="104" y="59"/>
                    </a:lnTo>
                    <a:lnTo>
                      <a:pt x="103" y="61"/>
                    </a:lnTo>
                    <a:lnTo>
                      <a:pt x="100" y="62"/>
                    </a:lnTo>
                    <a:lnTo>
                      <a:pt x="97" y="62"/>
                    </a:lnTo>
                    <a:lnTo>
                      <a:pt x="95" y="62"/>
                    </a:lnTo>
                    <a:lnTo>
                      <a:pt x="92" y="61"/>
                    </a:lnTo>
                    <a:lnTo>
                      <a:pt x="92" y="62"/>
                    </a:lnTo>
                    <a:lnTo>
                      <a:pt x="90" y="64"/>
                    </a:lnTo>
                    <a:lnTo>
                      <a:pt x="89" y="66"/>
                    </a:lnTo>
                    <a:lnTo>
                      <a:pt x="88" y="69"/>
                    </a:lnTo>
                    <a:lnTo>
                      <a:pt x="88" y="68"/>
                    </a:lnTo>
                    <a:lnTo>
                      <a:pt x="86" y="65"/>
                    </a:lnTo>
                    <a:lnTo>
                      <a:pt x="86" y="65"/>
                    </a:lnTo>
                    <a:lnTo>
                      <a:pt x="85" y="65"/>
                    </a:lnTo>
                    <a:lnTo>
                      <a:pt x="83" y="65"/>
                    </a:lnTo>
                    <a:lnTo>
                      <a:pt x="82" y="64"/>
                    </a:lnTo>
                    <a:lnTo>
                      <a:pt x="81" y="64"/>
                    </a:lnTo>
                    <a:lnTo>
                      <a:pt x="79" y="64"/>
                    </a:lnTo>
                    <a:lnTo>
                      <a:pt x="78" y="64"/>
                    </a:lnTo>
                    <a:lnTo>
                      <a:pt x="78" y="65"/>
                    </a:lnTo>
                    <a:lnTo>
                      <a:pt x="75" y="65"/>
                    </a:lnTo>
                    <a:lnTo>
                      <a:pt x="72" y="64"/>
                    </a:lnTo>
                    <a:lnTo>
                      <a:pt x="68" y="61"/>
                    </a:lnTo>
                    <a:lnTo>
                      <a:pt x="67" y="61"/>
                    </a:lnTo>
                    <a:lnTo>
                      <a:pt x="65" y="61"/>
                    </a:lnTo>
                    <a:lnTo>
                      <a:pt x="64" y="61"/>
                    </a:lnTo>
                    <a:lnTo>
                      <a:pt x="60" y="58"/>
                    </a:lnTo>
                    <a:lnTo>
                      <a:pt x="58" y="58"/>
                    </a:lnTo>
                    <a:lnTo>
                      <a:pt x="57" y="58"/>
                    </a:lnTo>
                    <a:lnTo>
                      <a:pt x="57" y="59"/>
                    </a:lnTo>
                    <a:lnTo>
                      <a:pt x="56" y="59"/>
                    </a:lnTo>
                    <a:lnTo>
                      <a:pt x="56" y="58"/>
                    </a:lnTo>
                    <a:lnTo>
                      <a:pt x="54" y="58"/>
                    </a:lnTo>
                    <a:lnTo>
                      <a:pt x="53" y="58"/>
                    </a:lnTo>
                    <a:lnTo>
                      <a:pt x="53" y="58"/>
                    </a:lnTo>
                    <a:lnTo>
                      <a:pt x="51" y="62"/>
                    </a:lnTo>
                    <a:lnTo>
                      <a:pt x="51" y="64"/>
                    </a:lnTo>
                    <a:lnTo>
                      <a:pt x="50" y="64"/>
                    </a:lnTo>
                    <a:lnTo>
                      <a:pt x="49" y="65"/>
                    </a:lnTo>
                    <a:lnTo>
                      <a:pt x="47" y="66"/>
                    </a:lnTo>
                    <a:lnTo>
                      <a:pt x="47" y="69"/>
                    </a:lnTo>
                    <a:lnTo>
                      <a:pt x="44" y="68"/>
                    </a:lnTo>
                    <a:lnTo>
                      <a:pt x="43" y="68"/>
                    </a:lnTo>
                    <a:lnTo>
                      <a:pt x="43" y="68"/>
                    </a:lnTo>
                    <a:lnTo>
                      <a:pt x="42" y="69"/>
                    </a:lnTo>
                    <a:lnTo>
                      <a:pt x="37" y="69"/>
                    </a:lnTo>
                    <a:lnTo>
                      <a:pt x="36" y="68"/>
                    </a:lnTo>
                    <a:lnTo>
                      <a:pt x="35" y="66"/>
                    </a:lnTo>
                    <a:lnTo>
                      <a:pt x="33" y="65"/>
                    </a:lnTo>
                    <a:lnTo>
                      <a:pt x="32" y="64"/>
                    </a:lnTo>
                    <a:lnTo>
                      <a:pt x="30" y="64"/>
                    </a:lnTo>
                    <a:lnTo>
                      <a:pt x="30" y="62"/>
                    </a:lnTo>
                    <a:lnTo>
                      <a:pt x="29" y="61"/>
                    </a:lnTo>
                    <a:lnTo>
                      <a:pt x="26" y="58"/>
                    </a:lnTo>
                    <a:lnTo>
                      <a:pt x="25" y="58"/>
                    </a:lnTo>
                    <a:lnTo>
                      <a:pt x="23" y="58"/>
                    </a:lnTo>
                    <a:lnTo>
                      <a:pt x="23" y="57"/>
                    </a:lnTo>
                    <a:lnTo>
                      <a:pt x="22" y="55"/>
                    </a:lnTo>
                    <a:lnTo>
                      <a:pt x="22" y="55"/>
                    </a:lnTo>
                    <a:lnTo>
                      <a:pt x="21" y="54"/>
                    </a:lnTo>
                    <a:lnTo>
                      <a:pt x="19" y="53"/>
                    </a:lnTo>
                    <a:lnTo>
                      <a:pt x="17" y="50"/>
                    </a:lnTo>
                    <a:lnTo>
                      <a:pt x="15" y="48"/>
                    </a:lnTo>
                    <a:lnTo>
                      <a:pt x="12" y="48"/>
                    </a:lnTo>
                    <a:lnTo>
                      <a:pt x="12" y="47"/>
                    </a:lnTo>
                    <a:lnTo>
                      <a:pt x="11" y="46"/>
                    </a:lnTo>
                    <a:lnTo>
                      <a:pt x="10" y="44"/>
                    </a:lnTo>
                    <a:lnTo>
                      <a:pt x="8" y="41"/>
                    </a:lnTo>
                    <a:lnTo>
                      <a:pt x="7" y="40"/>
                    </a:lnTo>
                    <a:lnTo>
                      <a:pt x="7" y="39"/>
                    </a:lnTo>
                    <a:lnTo>
                      <a:pt x="5" y="37"/>
                    </a:lnTo>
                    <a:lnTo>
                      <a:pt x="5" y="37"/>
                    </a:lnTo>
                    <a:lnTo>
                      <a:pt x="7" y="36"/>
                    </a:lnTo>
                    <a:lnTo>
                      <a:pt x="7" y="34"/>
                    </a:lnTo>
                    <a:lnTo>
                      <a:pt x="7" y="34"/>
                    </a:lnTo>
                    <a:lnTo>
                      <a:pt x="7" y="33"/>
                    </a:lnTo>
                    <a:lnTo>
                      <a:pt x="7" y="33"/>
                    </a:lnTo>
                    <a:lnTo>
                      <a:pt x="7" y="30"/>
                    </a:lnTo>
                    <a:lnTo>
                      <a:pt x="5" y="30"/>
                    </a:lnTo>
                    <a:lnTo>
                      <a:pt x="3" y="29"/>
                    </a:lnTo>
                    <a:lnTo>
                      <a:pt x="3" y="27"/>
                    </a:lnTo>
                    <a:lnTo>
                      <a:pt x="1" y="26"/>
                    </a:lnTo>
                    <a:lnTo>
                      <a:pt x="1" y="25"/>
                    </a:lnTo>
                    <a:lnTo>
                      <a:pt x="0" y="23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1" y="20"/>
                    </a:lnTo>
                    <a:lnTo>
                      <a:pt x="1" y="22"/>
                    </a:lnTo>
                    <a:lnTo>
                      <a:pt x="3" y="23"/>
                    </a:lnTo>
                    <a:lnTo>
                      <a:pt x="3" y="25"/>
                    </a:lnTo>
                    <a:lnTo>
                      <a:pt x="4" y="23"/>
                    </a:lnTo>
                    <a:lnTo>
                      <a:pt x="4" y="22"/>
                    </a:lnTo>
                    <a:lnTo>
                      <a:pt x="7" y="19"/>
                    </a:lnTo>
                    <a:lnTo>
                      <a:pt x="8" y="19"/>
                    </a:lnTo>
                    <a:lnTo>
                      <a:pt x="10" y="19"/>
                    </a:lnTo>
                    <a:lnTo>
                      <a:pt x="11" y="18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5" y="18"/>
                    </a:lnTo>
                    <a:lnTo>
                      <a:pt x="15" y="18"/>
                    </a:lnTo>
                    <a:lnTo>
                      <a:pt x="17" y="16"/>
                    </a:lnTo>
                    <a:lnTo>
                      <a:pt x="17" y="16"/>
                    </a:lnTo>
                    <a:lnTo>
                      <a:pt x="19" y="15"/>
                    </a:lnTo>
                    <a:lnTo>
                      <a:pt x="21" y="13"/>
                    </a:lnTo>
                    <a:lnTo>
                      <a:pt x="21" y="13"/>
                    </a:lnTo>
                    <a:lnTo>
                      <a:pt x="22" y="13"/>
                    </a:lnTo>
                    <a:lnTo>
                      <a:pt x="22" y="12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5" y="12"/>
                    </a:lnTo>
                    <a:lnTo>
                      <a:pt x="25" y="12"/>
                    </a:lnTo>
                    <a:lnTo>
                      <a:pt x="26" y="9"/>
                    </a:lnTo>
                    <a:lnTo>
                      <a:pt x="26" y="9"/>
                    </a:lnTo>
                    <a:lnTo>
                      <a:pt x="29" y="9"/>
                    </a:lnTo>
                    <a:lnTo>
                      <a:pt x="33" y="8"/>
                    </a:lnTo>
                    <a:lnTo>
                      <a:pt x="35" y="7"/>
                    </a:lnTo>
                    <a:lnTo>
                      <a:pt x="36" y="7"/>
                    </a:lnTo>
                    <a:lnTo>
                      <a:pt x="39" y="5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0" y="2"/>
                    </a:lnTo>
                    <a:lnTo>
                      <a:pt x="39" y="2"/>
                    </a:lnTo>
                    <a:lnTo>
                      <a:pt x="39" y="1"/>
                    </a:lnTo>
                    <a:lnTo>
                      <a:pt x="40" y="1"/>
                    </a:lnTo>
                    <a:lnTo>
                      <a:pt x="40" y="0"/>
                    </a:lnTo>
                    <a:lnTo>
                      <a:pt x="42" y="1"/>
                    </a:lnTo>
                    <a:lnTo>
                      <a:pt x="43" y="1"/>
                    </a:lnTo>
                    <a:lnTo>
                      <a:pt x="44" y="1"/>
                    </a:lnTo>
                    <a:lnTo>
                      <a:pt x="44" y="2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7" y="7"/>
                    </a:lnTo>
                    <a:lnTo>
                      <a:pt x="49" y="7"/>
                    </a:lnTo>
                    <a:lnTo>
                      <a:pt x="49" y="5"/>
                    </a:lnTo>
                    <a:lnTo>
                      <a:pt x="49" y="5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800" kern="0">
                  <a:solidFill>
                    <a:srgbClr val="000000"/>
                  </a:solidFill>
                  <a:latin typeface="RR Pioneer"/>
                </a:endParaRPr>
              </a:p>
            </p:txBody>
          </p:sp>
          <p:sp>
            <p:nvSpPr>
              <p:cNvPr id="249" name="Germany">
                <a:extLst>
                  <a:ext uri="{FF2B5EF4-FFF2-40B4-BE49-F238E27FC236}">
                    <a16:creationId xmlns:a16="http://schemas.microsoft.com/office/drawing/2014/main" id="{147578AE-236C-0EF9-CEDE-1625465F80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09757" y="2590148"/>
                <a:ext cx="129828" cy="176754"/>
              </a:xfrm>
              <a:custGeom>
                <a:avLst/>
                <a:gdLst>
                  <a:gd name="T0" fmla="*/ 46 w 166"/>
                  <a:gd name="T1" fmla="*/ 6 h 226"/>
                  <a:gd name="T2" fmla="*/ 75 w 166"/>
                  <a:gd name="T3" fmla="*/ 13 h 226"/>
                  <a:gd name="T4" fmla="*/ 92 w 166"/>
                  <a:gd name="T5" fmla="*/ 23 h 226"/>
                  <a:gd name="T6" fmla="*/ 102 w 166"/>
                  <a:gd name="T7" fmla="*/ 35 h 226"/>
                  <a:gd name="T8" fmla="*/ 128 w 166"/>
                  <a:gd name="T9" fmla="*/ 21 h 226"/>
                  <a:gd name="T10" fmla="*/ 152 w 166"/>
                  <a:gd name="T11" fmla="*/ 42 h 226"/>
                  <a:gd name="T12" fmla="*/ 153 w 166"/>
                  <a:gd name="T13" fmla="*/ 63 h 226"/>
                  <a:gd name="T14" fmla="*/ 157 w 166"/>
                  <a:gd name="T15" fmla="*/ 85 h 226"/>
                  <a:gd name="T16" fmla="*/ 160 w 166"/>
                  <a:gd name="T17" fmla="*/ 95 h 226"/>
                  <a:gd name="T18" fmla="*/ 164 w 166"/>
                  <a:gd name="T19" fmla="*/ 110 h 226"/>
                  <a:gd name="T20" fmla="*/ 162 w 166"/>
                  <a:gd name="T21" fmla="*/ 129 h 226"/>
                  <a:gd name="T22" fmla="*/ 155 w 166"/>
                  <a:gd name="T23" fmla="*/ 123 h 226"/>
                  <a:gd name="T24" fmla="*/ 149 w 166"/>
                  <a:gd name="T25" fmla="*/ 129 h 226"/>
                  <a:gd name="T26" fmla="*/ 136 w 166"/>
                  <a:gd name="T27" fmla="*/ 134 h 226"/>
                  <a:gd name="T28" fmla="*/ 128 w 166"/>
                  <a:gd name="T29" fmla="*/ 140 h 226"/>
                  <a:gd name="T30" fmla="*/ 116 w 166"/>
                  <a:gd name="T31" fmla="*/ 147 h 226"/>
                  <a:gd name="T32" fmla="*/ 114 w 166"/>
                  <a:gd name="T33" fmla="*/ 148 h 226"/>
                  <a:gd name="T34" fmla="*/ 120 w 166"/>
                  <a:gd name="T35" fmla="*/ 158 h 226"/>
                  <a:gd name="T36" fmla="*/ 125 w 166"/>
                  <a:gd name="T37" fmla="*/ 170 h 226"/>
                  <a:gd name="T38" fmla="*/ 138 w 166"/>
                  <a:gd name="T39" fmla="*/ 180 h 226"/>
                  <a:gd name="T40" fmla="*/ 142 w 166"/>
                  <a:gd name="T41" fmla="*/ 193 h 226"/>
                  <a:gd name="T42" fmla="*/ 134 w 166"/>
                  <a:gd name="T43" fmla="*/ 198 h 226"/>
                  <a:gd name="T44" fmla="*/ 128 w 166"/>
                  <a:gd name="T45" fmla="*/ 212 h 226"/>
                  <a:gd name="T46" fmla="*/ 130 w 166"/>
                  <a:gd name="T47" fmla="*/ 220 h 226"/>
                  <a:gd name="T48" fmla="*/ 123 w 166"/>
                  <a:gd name="T49" fmla="*/ 216 h 226"/>
                  <a:gd name="T50" fmla="*/ 114 w 166"/>
                  <a:gd name="T51" fmla="*/ 218 h 226"/>
                  <a:gd name="T52" fmla="*/ 96 w 166"/>
                  <a:gd name="T53" fmla="*/ 223 h 226"/>
                  <a:gd name="T54" fmla="*/ 84 w 166"/>
                  <a:gd name="T55" fmla="*/ 219 h 226"/>
                  <a:gd name="T56" fmla="*/ 78 w 166"/>
                  <a:gd name="T57" fmla="*/ 223 h 226"/>
                  <a:gd name="T58" fmla="*/ 70 w 166"/>
                  <a:gd name="T59" fmla="*/ 218 h 226"/>
                  <a:gd name="T60" fmla="*/ 54 w 166"/>
                  <a:gd name="T61" fmla="*/ 216 h 226"/>
                  <a:gd name="T62" fmla="*/ 46 w 166"/>
                  <a:gd name="T63" fmla="*/ 214 h 226"/>
                  <a:gd name="T64" fmla="*/ 47 w 166"/>
                  <a:gd name="T65" fmla="*/ 218 h 226"/>
                  <a:gd name="T66" fmla="*/ 31 w 166"/>
                  <a:gd name="T67" fmla="*/ 218 h 226"/>
                  <a:gd name="T68" fmla="*/ 35 w 166"/>
                  <a:gd name="T69" fmla="*/ 193 h 226"/>
                  <a:gd name="T70" fmla="*/ 32 w 166"/>
                  <a:gd name="T71" fmla="*/ 177 h 226"/>
                  <a:gd name="T72" fmla="*/ 21 w 166"/>
                  <a:gd name="T73" fmla="*/ 176 h 226"/>
                  <a:gd name="T74" fmla="*/ 13 w 166"/>
                  <a:gd name="T75" fmla="*/ 170 h 226"/>
                  <a:gd name="T76" fmla="*/ 10 w 166"/>
                  <a:gd name="T77" fmla="*/ 161 h 226"/>
                  <a:gd name="T78" fmla="*/ 4 w 166"/>
                  <a:gd name="T79" fmla="*/ 151 h 226"/>
                  <a:gd name="T80" fmla="*/ 6 w 166"/>
                  <a:gd name="T81" fmla="*/ 137 h 226"/>
                  <a:gd name="T82" fmla="*/ 3 w 166"/>
                  <a:gd name="T83" fmla="*/ 124 h 226"/>
                  <a:gd name="T84" fmla="*/ 4 w 166"/>
                  <a:gd name="T85" fmla="*/ 119 h 226"/>
                  <a:gd name="T86" fmla="*/ 4 w 166"/>
                  <a:gd name="T87" fmla="*/ 108 h 226"/>
                  <a:gd name="T88" fmla="*/ 6 w 166"/>
                  <a:gd name="T89" fmla="*/ 98 h 226"/>
                  <a:gd name="T90" fmla="*/ 17 w 166"/>
                  <a:gd name="T91" fmla="*/ 95 h 226"/>
                  <a:gd name="T92" fmla="*/ 21 w 166"/>
                  <a:gd name="T93" fmla="*/ 84 h 226"/>
                  <a:gd name="T94" fmla="*/ 15 w 166"/>
                  <a:gd name="T95" fmla="*/ 78 h 226"/>
                  <a:gd name="T96" fmla="*/ 24 w 166"/>
                  <a:gd name="T97" fmla="*/ 66 h 226"/>
                  <a:gd name="T98" fmla="*/ 25 w 166"/>
                  <a:gd name="T99" fmla="*/ 44 h 226"/>
                  <a:gd name="T100" fmla="*/ 45 w 166"/>
                  <a:gd name="T101" fmla="*/ 46 h 226"/>
                  <a:gd name="T102" fmla="*/ 54 w 166"/>
                  <a:gd name="T103" fmla="*/ 39 h 226"/>
                  <a:gd name="T104" fmla="*/ 58 w 166"/>
                  <a:gd name="T105" fmla="*/ 37 h 226"/>
                  <a:gd name="T106" fmla="*/ 50 w 166"/>
                  <a:gd name="T107" fmla="*/ 23 h 226"/>
                  <a:gd name="T108" fmla="*/ 50 w 166"/>
                  <a:gd name="T109" fmla="*/ 6 h 226"/>
                  <a:gd name="T110" fmla="*/ 70 w 166"/>
                  <a:gd name="T111" fmla="*/ 9 h 226"/>
                  <a:gd name="T112" fmla="*/ 47 w 166"/>
                  <a:gd name="T113" fmla="*/ 10 h 226"/>
                  <a:gd name="T114" fmla="*/ 136 w 166"/>
                  <a:gd name="T115" fmla="*/ 27 h 226"/>
                  <a:gd name="T116" fmla="*/ 136 w 166"/>
                  <a:gd name="T117" fmla="*/ 11 h 226"/>
                  <a:gd name="T118" fmla="*/ 142 w 166"/>
                  <a:gd name="T119" fmla="*/ 23 h 226"/>
                  <a:gd name="T120" fmla="*/ 97 w 166"/>
                  <a:gd name="T121" fmla="*/ 21 h 226"/>
                  <a:gd name="T122" fmla="*/ 145 w 166"/>
                  <a:gd name="T123" fmla="*/ 32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66" h="226">
                    <a:moveTo>
                      <a:pt x="45" y="9"/>
                    </a:moveTo>
                    <a:lnTo>
                      <a:pt x="43" y="10"/>
                    </a:lnTo>
                    <a:lnTo>
                      <a:pt x="45" y="6"/>
                    </a:lnTo>
                    <a:lnTo>
                      <a:pt x="46" y="0"/>
                    </a:lnTo>
                    <a:lnTo>
                      <a:pt x="47" y="0"/>
                    </a:lnTo>
                    <a:lnTo>
                      <a:pt x="46" y="2"/>
                    </a:lnTo>
                    <a:lnTo>
                      <a:pt x="46" y="3"/>
                    </a:lnTo>
                    <a:lnTo>
                      <a:pt x="46" y="4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49" y="7"/>
                    </a:lnTo>
                    <a:lnTo>
                      <a:pt x="45" y="7"/>
                    </a:lnTo>
                    <a:lnTo>
                      <a:pt x="45" y="9"/>
                    </a:lnTo>
                    <a:close/>
                    <a:moveTo>
                      <a:pt x="70" y="9"/>
                    </a:moveTo>
                    <a:lnTo>
                      <a:pt x="70" y="9"/>
                    </a:lnTo>
                    <a:lnTo>
                      <a:pt x="72" y="10"/>
                    </a:lnTo>
                    <a:lnTo>
                      <a:pt x="74" y="11"/>
                    </a:lnTo>
                    <a:lnTo>
                      <a:pt x="75" y="13"/>
                    </a:lnTo>
                    <a:lnTo>
                      <a:pt x="75" y="16"/>
                    </a:lnTo>
                    <a:lnTo>
                      <a:pt x="74" y="18"/>
                    </a:lnTo>
                    <a:lnTo>
                      <a:pt x="72" y="20"/>
                    </a:lnTo>
                    <a:lnTo>
                      <a:pt x="78" y="18"/>
                    </a:lnTo>
                    <a:lnTo>
                      <a:pt x="78" y="20"/>
                    </a:lnTo>
                    <a:lnTo>
                      <a:pt x="79" y="21"/>
                    </a:lnTo>
                    <a:lnTo>
                      <a:pt x="81" y="20"/>
                    </a:lnTo>
                    <a:lnTo>
                      <a:pt x="88" y="24"/>
                    </a:lnTo>
                    <a:lnTo>
                      <a:pt x="92" y="23"/>
                    </a:lnTo>
                    <a:lnTo>
                      <a:pt x="93" y="23"/>
                    </a:lnTo>
                    <a:lnTo>
                      <a:pt x="95" y="25"/>
                    </a:lnTo>
                    <a:lnTo>
                      <a:pt x="93" y="28"/>
                    </a:lnTo>
                    <a:lnTo>
                      <a:pt x="89" y="31"/>
                    </a:lnTo>
                    <a:lnTo>
                      <a:pt x="91" y="34"/>
                    </a:lnTo>
                    <a:lnTo>
                      <a:pt x="92" y="34"/>
                    </a:lnTo>
                    <a:lnTo>
                      <a:pt x="95" y="34"/>
                    </a:lnTo>
                    <a:lnTo>
                      <a:pt x="100" y="35"/>
                    </a:lnTo>
                    <a:lnTo>
                      <a:pt x="102" y="35"/>
                    </a:lnTo>
                    <a:lnTo>
                      <a:pt x="106" y="31"/>
                    </a:lnTo>
                    <a:lnTo>
                      <a:pt x="107" y="30"/>
                    </a:lnTo>
                    <a:lnTo>
                      <a:pt x="113" y="28"/>
                    </a:lnTo>
                    <a:lnTo>
                      <a:pt x="114" y="27"/>
                    </a:lnTo>
                    <a:lnTo>
                      <a:pt x="117" y="25"/>
                    </a:lnTo>
                    <a:lnTo>
                      <a:pt x="118" y="23"/>
                    </a:lnTo>
                    <a:lnTo>
                      <a:pt x="121" y="20"/>
                    </a:lnTo>
                    <a:lnTo>
                      <a:pt x="125" y="20"/>
                    </a:lnTo>
                    <a:lnTo>
                      <a:pt x="128" y="21"/>
                    </a:lnTo>
                    <a:lnTo>
                      <a:pt x="130" y="21"/>
                    </a:lnTo>
                    <a:lnTo>
                      <a:pt x="132" y="25"/>
                    </a:lnTo>
                    <a:lnTo>
                      <a:pt x="138" y="30"/>
                    </a:lnTo>
                    <a:lnTo>
                      <a:pt x="142" y="30"/>
                    </a:lnTo>
                    <a:lnTo>
                      <a:pt x="145" y="34"/>
                    </a:lnTo>
                    <a:lnTo>
                      <a:pt x="145" y="38"/>
                    </a:lnTo>
                    <a:lnTo>
                      <a:pt x="146" y="39"/>
                    </a:lnTo>
                    <a:lnTo>
                      <a:pt x="148" y="41"/>
                    </a:lnTo>
                    <a:lnTo>
                      <a:pt x="152" y="42"/>
                    </a:lnTo>
                    <a:lnTo>
                      <a:pt x="152" y="42"/>
                    </a:lnTo>
                    <a:lnTo>
                      <a:pt x="152" y="44"/>
                    </a:lnTo>
                    <a:lnTo>
                      <a:pt x="153" y="45"/>
                    </a:lnTo>
                    <a:lnTo>
                      <a:pt x="153" y="48"/>
                    </a:lnTo>
                    <a:lnTo>
                      <a:pt x="155" y="56"/>
                    </a:lnTo>
                    <a:lnTo>
                      <a:pt x="155" y="57"/>
                    </a:lnTo>
                    <a:lnTo>
                      <a:pt x="155" y="59"/>
                    </a:lnTo>
                    <a:lnTo>
                      <a:pt x="155" y="62"/>
                    </a:lnTo>
                    <a:lnTo>
                      <a:pt x="153" y="63"/>
                    </a:lnTo>
                    <a:lnTo>
                      <a:pt x="150" y="64"/>
                    </a:lnTo>
                    <a:lnTo>
                      <a:pt x="150" y="66"/>
                    </a:lnTo>
                    <a:lnTo>
                      <a:pt x="150" y="69"/>
                    </a:lnTo>
                    <a:lnTo>
                      <a:pt x="152" y="71"/>
                    </a:lnTo>
                    <a:lnTo>
                      <a:pt x="157" y="76"/>
                    </a:lnTo>
                    <a:lnTo>
                      <a:pt x="159" y="78"/>
                    </a:lnTo>
                    <a:lnTo>
                      <a:pt x="157" y="81"/>
                    </a:lnTo>
                    <a:lnTo>
                      <a:pt x="157" y="84"/>
                    </a:lnTo>
                    <a:lnTo>
                      <a:pt x="157" y="85"/>
                    </a:lnTo>
                    <a:lnTo>
                      <a:pt x="159" y="85"/>
                    </a:lnTo>
                    <a:lnTo>
                      <a:pt x="160" y="87"/>
                    </a:lnTo>
                    <a:lnTo>
                      <a:pt x="160" y="88"/>
                    </a:lnTo>
                    <a:lnTo>
                      <a:pt x="160" y="90"/>
                    </a:lnTo>
                    <a:lnTo>
                      <a:pt x="160" y="91"/>
                    </a:lnTo>
                    <a:lnTo>
                      <a:pt x="162" y="92"/>
                    </a:lnTo>
                    <a:lnTo>
                      <a:pt x="162" y="92"/>
                    </a:lnTo>
                    <a:lnTo>
                      <a:pt x="160" y="94"/>
                    </a:lnTo>
                    <a:lnTo>
                      <a:pt x="160" y="95"/>
                    </a:lnTo>
                    <a:lnTo>
                      <a:pt x="160" y="96"/>
                    </a:lnTo>
                    <a:lnTo>
                      <a:pt x="159" y="99"/>
                    </a:lnTo>
                    <a:lnTo>
                      <a:pt x="159" y="101"/>
                    </a:lnTo>
                    <a:lnTo>
                      <a:pt x="160" y="103"/>
                    </a:lnTo>
                    <a:lnTo>
                      <a:pt x="160" y="103"/>
                    </a:lnTo>
                    <a:lnTo>
                      <a:pt x="162" y="105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4" y="110"/>
                    </a:lnTo>
                    <a:lnTo>
                      <a:pt x="164" y="110"/>
                    </a:lnTo>
                    <a:lnTo>
                      <a:pt x="164" y="112"/>
                    </a:lnTo>
                    <a:lnTo>
                      <a:pt x="166" y="116"/>
                    </a:lnTo>
                    <a:lnTo>
                      <a:pt x="164" y="120"/>
                    </a:lnTo>
                    <a:lnTo>
                      <a:pt x="164" y="123"/>
                    </a:lnTo>
                    <a:lnTo>
                      <a:pt x="163" y="127"/>
                    </a:lnTo>
                    <a:lnTo>
                      <a:pt x="162" y="127"/>
                    </a:lnTo>
                    <a:lnTo>
                      <a:pt x="162" y="127"/>
                    </a:lnTo>
                    <a:lnTo>
                      <a:pt x="162" y="129"/>
                    </a:lnTo>
                    <a:lnTo>
                      <a:pt x="160" y="129"/>
                    </a:lnTo>
                    <a:lnTo>
                      <a:pt x="159" y="129"/>
                    </a:lnTo>
                    <a:lnTo>
                      <a:pt x="159" y="127"/>
                    </a:lnTo>
                    <a:lnTo>
                      <a:pt x="159" y="126"/>
                    </a:lnTo>
                    <a:lnTo>
                      <a:pt x="159" y="126"/>
                    </a:lnTo>
                    <a:lnTo>
                      <a:pt x="157" y="124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5" y="123"/>
                    </a:lnTo>
                    <a:lnTo>
                      <a:pt x="153" y="122"/>
                    </a:lnTo>
                    <a:lnTo>
                      <a:pt x="153" y="123"/>
                    </a:lnTo>
                    <a:lnTo>
                      <a:pt x="152" y="123"/>
                    </a:lnTo>
                    <a:lnTo>
                      <a:pt x="152" y="124"/>
                    </a:lnTo>
                    <a:lnTo>
                      <a:pt x="153" y="124"/>
                    </a:lnTo>
                    <a:lnTo>
                      <a:pt x="155" y="126"/>
                    </a:lnTo>
                    <a:lnTo>
                      <a:pt x="155" y="126"/>
                    </a:lnTo>
                    <a:lnTo>
                      <a:pt x="152" y="127"/>
                    </a:lnTo>
                    <a:lnTo>
                      <a:pt x="149" y="129"/>
                    </a:lnTo>
                    <a:lnTo>
                      <a:pt x="148" y="129"/>
                    </a:lnTo>
                    <a:lnTo>
                      <a:pt x="146" y="130"/>
                    </a:lnTo>
                    <a:lnTo>
                      <a:pt x="142" y="131"/>
                    </a:lnTo>
                    <a:lnTo>
                      <a:pt x="139" y="131"/>
                    </a:lnTo>
                    <a:lnTo>
                      <a:pt x="139" y="131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5" y="134"/>
                    </a:lnTo>
                    <a:lnTo>
                      <a:pt x="135" y="135"/>
                    </a:lnTo>
                    <a:lnTo>
                      <a:pt x="134" y="135"/>
                    </a:lnTo>
                    <a:lnTo>
                      <a:pt x="134" y="135"/>
                    </a:lnTo>
                    <a:lnTo>
                      <a:pt x="132" y="137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28" y="140"/>
                    </a:lnTo>
                    <a:lnTo>
                      <a:pt x="128" y="140"/>
                    </a:lnTo>
                    <a:lnTo>
                      <a:pt x="127" y="140"/>
                    </a:lnTo>
                    <a:lnTo>
                      <a:pt x="125" y="140"/>
                    </a:lnTo>
                    <a:lnTo>
                      <a:pt x="124" y="140"/>
                    </a:lnTo>
                    <a:lnTo>
                      <a:pt x="123" y="141"/>
                    </a:lnTo>
                    <a:lnTo>
                      <a:pt x="121" y="141"/>
                    </a:lnTo>
                    <a:lnTo>
                      <a:pt x="120" y="141"/>
                    </a:lnTo>
                    <a:lnTo>
                      <a:pt x="118" y="144"/>
                    </a:lnTo>
                    <a:lnTo>
                      <a:pt x="117" y="145"/>
                    </a:lnTo>
                    <a:lnTo>
                      <a:pt x="116" y="147"/>
                    </a:lnTo>
                    <a:lnTo>
                      <a:pt x="116" y="145"/>
                    </a:lnTo>
                    <a:lnTo>
                      <a:pt x="114" y="144"/>
                    </a:lnTo>
                    <a:lnTo>
                      <a:pt x="114" y="142"/>
                    </a:lnTo>
                    <a:lnTo>
                      <a:pt x="113" y="142"/>
                    </a:lnTo>
                    <a:lnTo>
                      <a:pt x="113" y="142"/>
                    </a:lnTo>
                    <a:lnTo>
                      <a:pt x="113" y="144"/>
                    </a:lnTo>
                    <a:lnTo>
                      <a:pt x="114" y="145"/>
                    </a:lnTo>
                    <a:lnTo>
                      <a:pt x="114" y="147"/>
                    </a:lnTo>
                    <a:lnTo>
                      <a:pt x="114" y="148"/>
                    </a:lnTo>
                    <a:lnTo>
                      <a:pt x="116" y="149"/>
                    </a:lnTo>
                    <a:lnTo>
                      <a:pt x="116" y="151"/>
                    </a:lnTo>
                    <a:lnTo>
                      <a:pt x="118" y="152"/>
                    </a:lnTo>
                    <a:lnTo>
                      <a:pt x="120" y="152"/>
                    </a:lnTo>
                    <a:lnTo>
                      <a:pt x="121" y="155"/>
                    </a:lnTo>
                    <a:lnTo>
                      <a:pt x="121" y="155"/>
                    </a:lnTo>
                    <a:lnTo>
                      <a:pt x="120" y="156"/>
                    </a:lnTo>
                    <a:lnTo>
                      <a:pt x="120" y="156"/>
                    </a:lnTo>
                    <a:lnTo>
                      <a:pt x="120" y="158"/>
                    </a:lnTo>
                    <a:lnTo>
                      <a:pt x="118" y="159"/>
                    </a:lnTo>
                    <a:lnTo>
                      <a:pt x="118" y="159"/>
                    </a:lnTo>
                    <a:lnTo>
                      <a:pt x="120" y="161"/>
                    </a:lnTo>
                    <a:lnTo>
                      <a:pt x="120" y="162"/>
                    </a:lnTo>
                    <a:lnTo>
                      <a:pt x="121" y="163"/>
                    </a:lnTo>
                    <a:lnTo>
                      <a:pt x="123" y="166"/>
                    </a:lnTo>
                    <a:lnTo>
                      <a:pt x="124" y="168"/>
                    </a:lnTo>
                    <a:lnTo>
                      <a:pt x="125" y="169"/>
                    </a:lnTo>
                    <a:lnTo>
                      <a:pt x="125" y="170"/>
                    </a:lnTo>
                    <a:lnTo>
                      <a:pt x="128" y="170"/>
                    </a:lnTo>
                    <a:lnTo>
                      <a:pt x="130" y="172"/>
                    </a:lnTo>
                    <a:lnTo>
                      <a:pt x="132" y="175"/>
                    </a:lnTo>
                    <a:lnTo>
                      <a:pt x="134" y="176"/>
                    </a:lnTo>
                    <a:lnTo>
                      <a:pt x="135" y="177"/>
                    </a:lnTo>
                    <a:lnTo>
                      <a:pt x="135" y="177"/>
                    </a:lnTo>
                    <a:lnTo>
                      <a:pt x="136" y="179"/>
                    </a:lnTo>
                    <a:lnTo>
                      <a:pt x="136" y="180"/>
                    </a:lnTo>
                    <a:lnTo>
                      <a:pt x="138" y="180"/>
                    </a:lnTo>
                    <a:lnTo>
                      <a:pt x="139" y="180"/>
                    </a:lnTo>
                    <a:lnTo>
                      <a:pt x="142" y="183"/>
                    </a:lnTo>
                    <a:lnTo>
                      <a:pt x="143" y="184"/>
                    </a:lnTo>
                    <a:lnTo>
                      <a:pt x="143" y="186"/>
                    </a:lnTo>
                    <a:lnTo>
                      <a:pt x="143" y="187"/>
                    </a:lnTo>
                    <a:lnTo>
                      <a:pt x="143" y="188"/>
                    </a:lnTo>
                    <a:lnTo>
                      <a:pt x="143" y="190"/>
                    </a:lnTo>
                    <a:lnTo>
                      <a:pt x="143" y="191"/>
                    </a:lnTo>
                    <a:lnTo>
                      <a:pt x="142" y="193"/>
                    </a:lnTo>
                    <a:lnTo>
                      <a:pt x="142" y="193"/>
                    </a:lnTo>
                    <a:lnTo>
                      <a:pt x="142" y="193"/>
                    </a:lnTo>
                    <a:lnTo>
                      <a:pt x="138" y="191"/>
                    </a:lnTo>
                    <a:lnTo>
                      <a:pt x="138" y="191"/>
                    </a:lnTo>
                    <a:lnTo>
                      <a:pt x="138" y="191"/>
                    </a:lnTo>
                    <a:lnTo>
                      <a:pt x="136" y="197"/>
                    </a:lnTo>
                    <a:lnTo>
                      <a:pt x="136" y="197"/>
                    </a:lnTo>
                    <a:lnTo>
                      <a:pt x="135" y="198"/>
                    </a:lnTo>
                    <a:lnTo>
                      <a:pt x="134" y="198"/>
                    </a:lnTo>
                    <a:lnTo>
                      <a:pt x="132" y="200"/>
                    </a:lnTo>
                    <a:lnTo>
                      <a:pt x="131" y="200"/>
                    </a:lnTo>
                    <a:lnTo>
                      <a:pt x="128" y="201"/>
                    </a:lnTo>
                    <a:lnTo>
                      <a:pt x="125" y="202"/>
                    </a:lnTo>
                    <a:lnTo>
                      <a:pt x="125" y="204"/>
                    </a:lnTo>
                    <a:lnTo>
                      <a:pt x="125" y="205"/>
                    </a:lnTo>
                    <a:lnTo>
                      <a:pt x="127" y="208"/>
                    </a:lnTo>
                    <a:lnTo>
                      <a:pt x="128" y="209"/>
                    </a:lnTo>
                    <a:lnTo>
                      <a:pt x="128" y="212"/>
                    </a:lnTo>
                    <a:lnTo>
                      <a:pt x="128" y="214"/>
                    </a:lnTo>
                    <a:lnTo>
                      <a:pt x="128" y="215"/>
                    </a:lnTo>
                    <a:lnTo>
                      <a:pt x="128" y="215"/>
                    </a:lnTo>
                    <a:lnTo>
                      <a:pt x="130" y="215"/>
                    </a:lnTo>
                    <a:lnTo>
                      <a:pt x="130" y="215"/>
                    </a:lnTo>
                    <a:lnTo>
                      <a:pt x="131" y="216"/>
                    </a:lnTo>
                    <a:lnTo>
                      <a:pt x="130" y="218"/>
                    </a:lnTo>
                    <a:lnTo>
                      <a:pt x="130" y="220"/>
                    </a:lnTo>
                    <a:lnTo>
                      <a:pt x="130" y="220"/>
                    </a:lnTo>
                    <a:lnTo>
                      <a:pt x="128" y="220"/>
                    </a:lnTo>
                    <a:lnTo>
                      <a:pt x="127" y="220"/>
                    </a:lnTo>
                    <a:lnTo>
                      <a:pt x="125" y="219"/>
                    </a:lnTo>
                    <a:lnTo>
                      <a:pt x="125" y="219"/>
                    </a:lnTo>
                    <a:lnTo>
                      <a:pt x="125" y="218"/>
                    </a:lnTo>
                    <a:lnTo>
                      <a:pt x="125" y="218"/>
                    </a:lnTo>
                    <a:lnTo>
                      <a:pt x="125" y="216"/>
                    </a:lnTo>
                    <a:lnTo>
                      <a:pt x="124" y="216"/>
                    </a:lnTo>
                    <a:lnTo>
                      <a:pt x="123" y="216"/>
                    </a:lnTo>
                    <a:lnTo>
                      <a:pt x="121" y="216"/>
                    </a:lnTo>
                    <a:lnTo>
                      <a:pt x="120" y="216"/>
                    </a:lnTo>
                    <a:lnTo>
                      <a:pt x="120" y="216"/>
                    </a:lnTo>
                    <a:lnTo>
                      <a:pt x="118" y="215"/>
                    </a:lnTo>
                    <a:lnTo>
                      <a:pt x="116" y="215"/>
                    </a:lnTo>
                    <a:lnTo>
                      <a:pt x="116" y="215"/>
                    </a:lnTo>
                    <a:lnTo>
                      <a:pt x="114" y="215"/>
                    </a:lnTo>
                    <a:lnTo>
                      <a:pt x="116" y="216"/>
                    </a:lnTo>
                    <a:lnTo>
                      <a:pt x="114" y="218"/>
                    </a:lnTo>
                    <a:lnTo>
                      <a:pt x="106" y="218"/>
                    </a:lnTo>
                    <a:lnTo>
                      <a:pt x="103" y="219"/>
                    </a:lnTo>
                    <a:lnTo>
                      <a:pt x="102" y="220"/>
                    </a:lnTo>
                    <a:lnTo>
                      <a:pt x="100" y="220"/>
                    </a:lnTo>
                    <a:lnTo>
                      <a:pt x="100" y="222"/>
                    </a:lnTo>
                    <a:lnTo>
                      <a:pt x="99" y="222"/>
                    </a:lnTo>
                    <a:lnTo>
                      <a:pt x="97" y="223"/>
                    </a:lnTo>
                    <a:lnTo>
                      <a:pt x="96" y="222"/>
                    </a:lnTo>
                    <a:lnTo>
                      <a:pt x="96" y="223"/>
                    </a:lnTo>
                    <a:lnTo>
                      <a:pt x="93" y="223"/>
                    </a:lnTo>
                    <a:lnTo>
                      <a:pt x="93" y="223"/>
                    </a:lnTo>
                    <a:lnTo>
                      <a:pt x="92" y="222"/>
                    </a:lnTo>
                    <a:lnTo>
                      <a:pt x="91" y="220"/>
                    </a:lnTo>
                    <a:lnTo>
                      <a:pt x="91" y="220"/>
                    </a:lnTo>
                    <a:lnTo>
                      <a:pt x="91" y="219"/>
                    </a:lnTo>
                    <a:lnTo>
                      <a:pt x="88" y="219"/>
                    </a:lnTo>
                    <a:lnTo>
                      <a:pt x="86" y="219"/>
                    </a:lnTo>
                    <a:lnTo>
                      <a:pt x="84" y="219"/>
                    </a:lnTo>
                    <a:lnTo>
                      <a:pt x="82" y="219"/>
                    </a:lnTo>
                    <a:lnTo>
                      <a:pt x="82" y="219"/>
                    </a:lnTo>
                    <a:lnTo>
                      <a:pt x="82" y="222"/>
                    </a:lnTo>
                    <a:lnTo>
                      <a:pt x="82" y="223"/>
                    </a:lnTo>
                    <a:lnTo>
                      <a:pt x="81" y="225"/>
                    </a:lnTo>
                    <a:lnTo>
                      <a:pt x="79" y="226"/>
                    </a:lnTo>
                    <a:lnTo>
                      <a:pt x="78" y="226"/>
                    </a:lnTo>
                    <a:lnTo>
                      <a:pt x="78" y="225"/>
                    </a:lnTo>
                    <a:lnTo>
                      <a:pt x="78" y="223"/>
                    </a:lnTo>
                    <a:lnTo>
                      <a:pt x="78" y="223"/>
                    </a:lnTo>
                    <a:lnTo>
                      <a:pt x="77" y="223"/>
                    </a:lnTo>
                    <a:lnTo>
                      <a:pt x="77" y="223"/>
                    </a:lnTo>
                    <a:lnTo>
                      <a:pt x="77" y="222"/>
                    </a:lnTo>
                    <a:lnTo>
                      <a:pt x="77" y="222"/>
                    </a:lnTo>
                    <a:lnTo>
                      <a:pt x="75" y="220"/>
                    </a:lnTo>
                    <a:lnTo>
                      <a:pt x="74" y="220"/>
                    </a:lnTo>
                    <a:lnTo>
                      <a:pt x="72" y="219"/>
                    </a:lnTo>
                    <a:lnTo>
                      <a:pt x="70" y="218"/>
                    </a:lnTo>
                    <a:lnTo>
                      <a:pt x="70" y="219"/>
                    </a:lnTo>
                    <a:lnTo>
                      <a:pt x="68" y="219"/>
                    </a:lnTo>
                    <a:lnTo>
                      <a:pt x="67" y="219"/>
                    </a:lnTo>
                    <a:lnTo>
                      <a:pt x="67" y="219"/>
                    </a:lnTo>
                    <a:lnTo>
                      <a:pt x="63" y="218"/>
                    </a:lnTo>
                    <a:lnTo>
                      <a:pt x="60" y="216"/>
                    </a:lnTo>
                    <a:lnTo>
                      <a:pt x="58" y="216"/>
                    </a:lnTo>
                    <a:lnTo>
                      <a:pt x="54" y="216"/>
                    </a:lnTo>
                    <a:lnTo>
                      <a:pt x="54" y="216"/>
                    </a:lnTo>
                    <a:lnTo>
                      <a:pt x="54" y="215"/>
                    </a:lnTo>
                    <a:lnTo>
                      <a:pt x="53" y="215"/>
                    </a:lnTo>
                    <a:lnTo>
                      <a:pt x="53" y="215"/>
                    </a:lnTo>
                    <a:lnTo>
                      <a:pt x="53" y="215"/>
                    </a:lnTo>
                    <a:lnTo>
                      <a:pt x="52" y="215"/>
                    </a:lnTo>
                    <a:lnTo>
                      <a:pt x="50" y="214"/>
                    </a:lnTo>
                    <a:lnTo>
                      <a:pt x="49" y="214"/>
                    </a:lnTo>
                    <a:lnTo>
                      <a:pt x="47" y="214"/>
                    </a:lnTo>
                    <a:lnTo>
                      <a:pt x="46" y="214"/>
                    </a:lnTo>
                    <a:lnTo>
                      <a:pt x="46" y="215"/>
                    </a:lnTo>
                    <a:lnTo>
                      <a:pt x="46" y="216"/>
                    </a:lnTo>
                    <a:lnTo>
                      <a:pt x="47" y="216"/>
                    </a:lnTo>
                    <a:lnTo>
                      <a:pt x="49" y="216"/>
                    </a:lnTo>
                    <a:lnTo>
                      <a:pt x="49" y="216"/>
                    </a:lnTo>
                    <a:lnTo>
                      <a:pt x="49" y="216"/>
                    </a:lnTo>
                    <a:lnTo>
                      <a:pt x="49" y="216"/>
                    </a:lnTo>
                    <a:lnTo>
                      <a:pt x="47" y="218"/>
                    </a:lnTo>
                    <a:lnTo>
                      <a:pt x="47" y="218"/>
                    </a:lnTo>
                    <a:lnTo>
                      <a:pt x="46" y="218"/>
                    </a:lnTo>
                    <a:lnTo>
                      <a:pt x="46" y="218"/>
                    </a:lnTo>
                    <a:lnTo>
                      <a:pt x="45" y="218"/>
                    </a:lnTo>
                    <a:lnTo>
                      <a:pt x="42" y="218"/>
                    </a:lnTo>
                    <a:lnTo>
                      <a:pt x="40" y="218"/>
                    </a:lnTo>
                    <a:lnTo>
                      <a:pt x="38" y="219"/>
                    </a:lnTo>
                    <a:lnTo>
                      <a:pt x="33" y="219"/>
                    </a:lnTo>
                    <a:lnTo>
                      <a:pt x="32" y="218"/>
                    </a:lnTo>
                    <a:lnTo>
                      <a:pt x="31" y="218"/>
                    </a:lnTo>
                    <a:lnTo>
                      <a:pt x="31" y="216"/>
                    </a:lnTo>
                    <a:lnTo>
                      <a:pt x="31" y="214"/>
                    </a:lnTo>
                    <a:lnTo>
                      <a:pt x="31" y="209"/>
                    </a:lnTo>
                    <a:lnTo>
                      <a:pt x="32" y="207"/>
                    </a:lnTo>
                    <a:lnTo>
                      <a:pt x="31" y="205"/>
                    </a:lnTo>
                    <a:lnTo>
                      <a:pt x="32" y="202"/>
                    </a:lnTo>
                    <a:lnTo>
                      <a:pt x="33" y="200"/>
                    </a:lnTo>
                    <a:lnTo>
                      <a:pt x="35" y="195"/>
                    </a:lnTo>
                    <a:lnTo>
                      <a:pt x="35" y="193"/>
                    </a:lnTo>
                    <a:lnTo>
                      <a:pt x="36" y="190"/>
                    </a:lnTo>
                    <a:lnTo>
                      <a:pt x="38" y="188"/>
                    </a:lnTo>
                    <a:lnTo>
                      <a:pt x="40" y="183"/>
                    </a:lnTo>
                    <a:lnTo>
                      <a:pt x="42" y="183"/>
                    </a:lnTo>
                    <a:lnTo>
                      <a:pt x="40" y="180"/>
                    </a:lnTo>
                    <a:lnTo>
                      <a:pt x="40" y="180"/>
                    </a:lnTo>
                    <a:lnTo>
                      <a:pt x="39" y="179"/>
                    </a:lnTo>
                    <a:lnTo>
                      <a:pt x="35" y="179"/>
                    </a:lnTo>
                    <a:lnTo>
                      <a:pt x="32" y="177"/>
                    </a:lnTo>
                    <a:lnTo>
                      <a:pt x="31" y="177"/>
                    </a:lnTo>
                    <a:lnTo>
                      <a:pt x="29" y="176"/>
                    </a:lnTo>
                    <a:lnTo>
                      <a:pt x="28" y="176"/>
                    </a:lnTo>
                    <a:lnTo>
                      <a:pt x="26" y="176"/>
                    </a:lnTo>
                    <a:lnTo>
                      <a:pt x="24" y="176"/>
                    </a:lnTo>
                    <a:lnTo>
                      <a:pt x="22" y="176"/>
                    </a:lnTo>
                    <a:lnTo>
                      <a:pt x="22" y="176"/>
                    </a:lnTo>
                    <a:lnTo>
                      <a:pt x="21" y="176"/>
                    </a:lnTo>
                    <a:lnTo>
                      <a:pt x="21" y="176"/>
                    </a:lnTo>
                    <a:lnTo>
                      <a:pt x="21" y="175"/>
                    </a:lnTo>
                    <a:lnTo>
                      <a:pt x="19" y="175"/>
                    </a:lnTo>
                    <a:lnTo>
                      <a:pt x="18" y="173"/>
                    </a:lnTo>
                    <a:lnTo>
                      <a:pt x="18" y="175"/>
                    </a:lnTo>
                    <a:lnTo>
                      <a:pt x="17" y="175"/>
                    </a:lnTo>
                    <a:lnTo>
                      <a:pt x="17" y="176"/>
                    </a:lnTo>
                    <a:lnTo>
                      <a:pt x="15" y="175"/>
                    </a:lnTo>
                    <a:lnTo>
                      <a:pt x="14" y="172"/>
                    </a:lnTo>
                    <a:lnTo>
                      <a:pt x="13" y="170"/>
                    </a:lnTo>
                    <a:lnTo>
                      <a:pt x="13" y="170"/>
                    </a:lnTo>
                    <a:lnTo>
                      <a:pt x="13" y="169"/>
                    </a:lnTo>
                    <a:lnTo>
                      <a:pt x="11" y="168"/>
                    </a:lnTo>
                    <a:lnTo>
                      <a:pt x="10" y="166"/>
                    </a:lnTo>
                    <a:lnTo>
                      <a:pt x="8" y="168"/>
                    </a:lnTo>
                    <a:lnTo>
                      <a:pt x="8" y="165"/>
                    </a:lnTo>
                    <a:lnTo>
                      <a:pt x="10" y="163"/>
                    </a:lnTo>
                    <a:lnTo>
                      <a:pt x="10" y="162"/>
                    </a:lnTo>
                    <a:lnTo>
                      <a:pt x="10" y="161"/>
                    </a:lnTo>
                    <a:lnTo>
                      <a:pt x="11" y="159"/>
                    </a:lnTo>
                    <a:lnTo>
                      <a:pt x="11" y="159"/>
                    </a:lnTo>
                    <a:lnTo>
                      <a:pt x="11" y="158"/>
                    </a:lnTo>
                    <a:lnTo>
                      <a:pt x="10" y="156"/>
                    </a:lnTo>
                    <a:lnTo>
                      <a:pt x="8" y="156"/>
                    </a:lnTo>
                    <a:lnTo>
                      <a:pt x="7" y="155"/>
                    </a:lnTo>
                    <a:lnTo>
                      <a:pt x="6" y="154"/>
                    </a:lnTo>
                    <a:lnTo>
                      <a:pt x="4" y="152"/>
                    </a:lnTo>
                    <a:lnTo>
                      <a:pt x="4" y="151"/>
                    </a:lnTo>
                    <a:lnTo>
                      <a:pt x="4" y="149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6" y="145"/>
                    </a:lnTo>
                    <a:lnTo>
                      <a:pt x="8" y="142"/>
                    </a:lnTo>
                    <a:lnTo>
                      <a:pt x="8" y="140"/>
                    </a:lnTo>
                    <a:lnTo>
                      <a:pt x="8" y="138"/>
                    </a:lnTo>
                    <a:lnTo>
                      <a:pt x="7" y="138"/>
                    </a:lnTo>
                    <a:lnTo>
                      <a:pt x="6" y="137"/>
                    </a:lnTo>
                    <a:lnTo>
                      <a:pt x="6" y="137"/>
                    </a:lnTo>
                    <a:lnTo>
                      <a:pt x="6" y="135"/>
                    </a:lnTo>
                    <a:lnTo>
                      <a:pt x="7" y="134"/>
                    </a:lnTo>
                    <a:lnTo>
                      <a:pt x="6" y="134"/>
                    </a:lnTo>
                    <a:lnTo>
                      <a:pt x="4" y="133"/>
                    </a:lnTo>
                    <a:lnTo>
                      <a:pt x="3" y="131"/>
                    </a:lnTo>
                    <a:lnTo>
                      <a:pt x="3" y="130"/>
                    </a:lnTo>
                    <a:lnTo>
                      <a:pt x="3" y="126"/>
                    </a:lnTo>
                    <a:lnTo>
                      <a:pt x="3" y="124"/>
                    </a:lnTo>
                    <a:lnTo>
                      <a:pt x="1" y="124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0" y="123"/>
                    </a:lnTo>
                    <a:lnTo>
                      <a:pt x="0" y="122"/>
                    </a:lnTo>
                    <a:lnTo>
                      <a:pt x="1" y="122"/>
                    </a:lnTo>
                    <a:lnTo>
                      <a:pt x="1" y="122"/>
                    </a:lnTo>
                    <a:lnTo>
                      <a:pt x="4" y="119"/>
                    </a:lnTo>
                    <a:lnTo>
                      <a:pt x="4" y="119"/>
                    </a:lnTo>
                    <a:lnTo>
                      <a:pt x="4" y="119"/>
                    </a:lnTo>
                    <a:lnTo>
                      <a:pt x="4" y="117"/>
                    </a:lnTo>
                    <a:lnTo>
                      <a:pt x="4" y="117"/>
                    </a:lnTo>
                    <a:lnTo>
                      <a:pt x="4" y="117"/>
                    </a:lnTo>
                    <a:lnTo>
                      <a:pt x="6" y="113"/>
                    </a:lnTo>
                    <a:lnTo>
                      <a:pt x="6" y="112"/>
                    </a:lnTo>
                    <a:lnTo>
                      <a:pt x="6" y="110"/>
                    </a:lnTo>
                    <a:lnTo>
                      <a:pt x="6" y="109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4" y="105"/>
                    </a:lnTo>
                    <a:lnTo>
                      <a:pt x="3" y="103"/>
                    </a:lnTo>
                    <a:lnTo>
                      <a:pt x="1" y="101"/>
                    </a:lnTo>
                    <a:lnTo>
                      <a:pt x="1" y="99"/>
                    </a:lnTo>
                    <a:lnTo>
                      <a:pt x="3" y="99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6" y="98"/>
                    </a:lnTo>
                    <a:lnTo>
                      <a:pt x="7" y="98"/>
                    </a:lnTo>
                    <a:lnTo>
                      <a:pt x="8" y="99"/>
                    </a:lnTo>
                    <a:lnTo>
                      <a:pt x="8" y="99"/>
                    </a:lnTo>
                    <a:lnTo>
                      <a:pt x="10" y="98"/>
                    </a:lnTo>
                    <a:lnTo>
                      <a:pt x="11" y="98"/>
                    </a:lnTo>
                    <a:lnTo>
                      <a:pt x="15" y="96"/>
                    </a:lnTo>
                    <a:lnTo>
                      <a:pt x="17" y="96"/>
                    </a:lnTo>
                    <a:lnTo>
                      <a:pt x="17" y="95"/>
                    </a:lnTo>
                    <a:lnTo>
                      <a:pt x="17" y="95"/>
                    </a:lnTo>
                    <a:lnTo>
                      <a:pt x="15" y="94"/>
                    </a:lnTo>
                    <a:lnTo>
                      <a:pt x="15" y="92"/>
                    </a:lnTo>
                    <a:lnTo>
                      <a:pt x="15" y="92"/>
                    </a:lnTo>
                    <a:lnTo>
                      <a:pt x="15" y="91"/>
                    </a:lnTo>
                    <a:lnTo>
                      <a:pt x="17" y="91"/>
                    </a:lnTo>
                    <a:lnTo>
                      <a:pt x="18" y="90"/>
                    </a:lnTo>
                    <a:lnTo>
                      <a:pt x="19" y="88"/>
                    </a:lnTo>
                    <a:lnTo>
                      <a:pt x="21" y="87"/>
                    </a:lnTo>
                    <a:lnTo>
                      <a:pt x="21" y="84"/>
                    </a:lnTo>
                    <a:lnTo>
                      <a:pt x="21" y="83"/>
                    </a:lnTo>
                    <a:lnTo>
                      <a:pt x="21" y="81"/>
                    </a:lnTo>
                    <a:lnTo>
                      <a:pt x="19" y="81"/>
                    </a:lnTo>
                    <a:lnTo>
                      <a:pt x="19" y="81"/>
                    </a:lnTo>
                    <a:lnTo>
                      <a:pt x="17" y="81"/>
                    </a:lnTo>
                    <a:lnTo>
                      <a:pt x="15" y="80"/>
                    </a:lnTo>
                    <a:lnTo>
                      <a:pt x="15" y="80"/>
                    </a:lnTo>
                    <a:lnTo>
                      <a:pt x="15" y="78"/>
                    </a:lnTo>
                    <a:lnTo>
                      <a:pt x="15" y="78"/>
                    </a:lnTo>
                    <a:lnTo>
                      <a:pt x="15" y="77"/>
                    </a:lnTo>
                    <a:lnTo>
                      <a:pt x="15" y="77"/>
                    </a:lnTo>
                    <a:lnTo>
                      <a:pt x="15" y="76"/>
                    </a:lnTo>
                    <a:lnTo>
                      <a:pt x="15" y="76"/>
                    </a:lnTo>
                    <a:lnTo>
                      <a:pt x="21" y="76"/>
                    </a:lnTo>
                    <a:lnTo>
                      <a:pt x="21" y="74"/>
                    </a:lnTo>
                    <a:lnTo>
                      <a:pt x="21" y="71"/>
                    </a:lnTo>
                    <a:lnTo>
                      <a:pt x="22" y="67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4" y="59"/>
                    </a:lnTo>
                    <a:lnTo>
                      <a:pt x="24" y="56"/>
                    </a:lnTo>
                    <a:lnTo>
                      <a:pt x="24" y="55"/>
                    </a:lnTo>
                    <a:lnTo>
                      <a:pt x="21" y="53"/>
                    </a:lnTo>
                    <a:lnTo>
                      <a:pt x="22" y="50"/>
                    </a:lnTo>
                    <a:lnTo>
                      <a:pt x="22" y="48"/>
                    </a:lnTo>
                    <a:lnTo>
                      <a:pt x="24" y="45"/>
                    </a:lnTo>
                    <a:lnTo>
                      <a:pt x="25" y="44"/>
                    </a:lnTo>
                    <a:lnTo>
                      <a:pt x="32" y="44"/>
                    </a:lnTo>
                    <a:lnTo>
                      <a:pt x="39" y="44"/>
                    </a:lnTo>
                    <a:lnTo>
                      <a:pt x="42" y="48"/>
                    </a:lnTo>
                    <a:lnTo>
                      <a:pt x="40" y="50"/>
                    </a:lnTo>
                    <a:lnTo>
                      <a:pt x="42" y="52"/>
                    </a:lnTo>
                    <a:lnTo>
                      <a:pt x="43" y="50"/>
                    </a:lnTo>
                    <a:lnTo>
                      <a:pt x="43" y="49"/>
                    </a:lnTo>
                    <a:lnTo>
                      <a:pt x="45" y="46"/>
                    </a:lnTo>
                    <a:lnTo>
                      <a:pt x="45" y="46"/>
                    </a:lnTo>
                    <a:lnTo>
                      <a:pt x="47" y="48"/>
                    </a:lnTo>
                    <a:lnTo>
                      <a:pt x="47" y="49"/>
                    </a:lnTo>
                    <a:lnTo>
                      <a:pt x="47" y="52"/>
                    </a:lnTo>
                    <a:lnTo>
                      <a:pt x="49" y="48"/>
                    </a:lnTo>
                    <a:lnTo>
                      <a:pt x="47" y="44"/>
                    </a:lnTo>
                    <a:lnTo>
                      <a:pt x="49" y="41"/>
                    </a:lnTo>
                    <a:lnTo>
                      <a:pt x="49" y="39"/>
                    </a:lnTo>
                    <a:lnTo>
                      <a:pt x="50" y="38"/>
                    </a:lnTo>
                    <a:lnTo>
                      <a:pt x="54" y="39"/>
                    </a:lnTo>
                    <a:lnTo>
                      <a:pt x="60" y="38"/>
                    </a:lnTo>
                    <a:lnTo>
                      <a:pt x="63" y="39"/>
                    </a:lnTo>
                    <a:lnTo>
                      <a:pt x="67" y="46"/>
                    </a:lnTo>
                    <a:lnTo>
                      <a:pt x="68" y="48"/>
                    </a:lnTo>
                    <a:lnTo>
                      <a:pt x="71" y="48"/>
                    </a:lnTo>
                    <a:lnTo>
                      <a:pt x="68" y="46"/>
                    </a:lnTo>
                    <a:lnTo>
                      <a:pt x="63" y="38"/>
                    </a:lnTo>
                    <a:lnTo>
                      <a:pt x="61" y="37"/>
                    </a:lnTo>
                    <a:lnTo>
                      <a:pt x="58" y="37"/>
                    </a:lnTo>
                    <a:lnTo>
                      <a:pt x="56" y="37"/>
                    </a:lnTo>
                    <a:lnTo>
                      <a:pt x="56" y="35"/>
                    </a:lnTo>
                    <a:lnTo>
                      <a:pt x="54" y="34"/>
                    </a:lnTo>
                    <a:lnTo>
                      <a:pt x="54" y="25"/>
                    </a:lnTo>
                    <a:lnTo>
                      <a:pt x="54" y="24"/>
                    </a:lnTo>
                    <a:lnTo>
                      <a:pt x="53" y="24"/>
                    </a:lnTo>
                    <a:lnTo>
                      <a:pt x="52" y="25"/>
                    </a:lnTo>
                    <a:lnTo>
                      <a:pt x="50" y="25"/>
                    </a:lnTo>
                    <a:lnTo>
                      <a:pt x="50" y="23"/>
                    </a:lnTo>
                    <a:lnTo>
                      <a:pt x="50" y="21"/>
                    </a:lnTo>
                    <a:lnTo>
                      <a:pt x="54" y="21"/>
                    </a:lnTo>
                    <a:lnTo>
                      <a:pt x="56" y="20"/>
                    </a:lnTo>
                    <a:lnTo>
                      <a:pt x="56" y="17"/>
                    </a:lnTo>
                    <a:lnTo>
                      <a:pt x="54" y="16"/>
                    </a:lnTo>
                    <a:lnTo>
                      <a:pt x="53" y="13"/>
                    </a:lnTo>
                    <a:lnTo>
                      <a:pt x="52" y="9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60" y="7"/>
                    </a:lnTo>
                    <a:lnTo>
                      <a:pt x="61" y="9"/>
                    </a:lnTo>
                    <a:lnTo>
                      <a:pt x="63" y="9"/>
                    </a:lnTo>
                    <a:lnTo>
                      <a:pt x="65" y="7"/>
                    </a:lnTo>
                    <a:lnTo>
                      <a:pt x="68" y="7"/>
                    </a:lnTo>
                    <a:lnTo>
                      <a:pt x="68" y="7"/>
                    </a:lnTo>
                    <a:lnTo>
                      <a:pt x="70" y="9"/>
                    </a:lnTo>
                    <a:lnTo>
                      <a:pt x="70" y="9"/>
                    </a:lnTo>
                    <a:lnTo>
                      <a:pt x="70" y="9"/>
                    </a:lnTo>
                    <a:close/>
                    <a:moveTo>
                      <a:pt x="49" y="11"/>
                    </a:moveTo>
                    <a:lnTo>
                      <a:pt x="49" y="13"/>
                    </a:lnTo>
                    <a:lnTo>
                      <a:pt x="47" y="13"/>
                    </a:lnTo>
                    <a:lnTo>
                      <a:pt x="46" y="11"/>
                    </a:lnTo>
                    <a:lnTo>
                      <a:pt x="46" y="11"/>
                    </a:lnTo>
                    <a:lnTo>
                      <a:pt x="47" y="10"/>
                    </a:lnTo>
                    <a:lnTo>
                      <a:pt x="47" y="10"/>
                    </a:lnTo>
                    <a:lnTo>
                      <a:pt x="49" y="10"/>
                    </a:lnTo>
                    <a:lnTo>
                      <a:pt x="49" y="11"/>
                    </a:lnTo>
                    <a:close/>
                    <a:moveTo>
                      <a:pt x="142" y="23"/>
                    </a:moveTo>
                    <a:lnTo>
                      <a:pt x="142" y="24"/>
                    </a:lnTo>
                    <a:lnTo>
                      <a:pt x="142" y="25"/>
                    </a:lnTo>
                    <a:lnTo>
                      <a:pt x="141" y="24"/>
                    </a:lnTo>
                    <a:lnTo>
                      <a:pt x="138" y="24"/>
                    </a:lnTo>
                    <a:lnTo>
                      <a:pt x="136" y="27"/>
                    </a:lnTo>
                    <a:lnTo>
                      <a:pt x="136" y="27"/>
                    </a:lnTo>
                    <a:lnTo>
                      <a:pt x="132" y="24"/>
                    </a:lnTo>
                    <a:lnTo>
                      <a:pt x="132" y="23"/>
                    </a:lnTo>
                    <a:lnTo>
                      <a:pt x="132" y="21"/>
                    </a:lnTo>
                    <a:lnTo>
                      <a:pt x="132" y="18"/>
                    </a:lnTo>
                    <a:lnTo>
                      <a:pt x="132" y="17"/>
                    </a:lnTo>
                    <a:lnTo>
                      <a:pt x="134" y="16"/>
                    </a:lnTo>
                    <a:lnTo>
                      <a:pt x="134" y="14"/>
                    </a:lnTo>
                    <a:lnTo>
                      <a:pt x="135" y="11"/>
                    </a:lnTo>
                    <a:lnTo>
                      <a:pt x="136" y="11"/>
                    </a:lnTo>
                    <a:lnTo>
                      <a:pt x="138" y="14"/>
                    </a:lnTo>
                    <a:lnTo>
                      <a:pt x="138" y="14"/>
                    </a:lnTo>
                    <a:lnTo>
                      <a:pt x="141" y="16"/>
                    </a:lnTo>
                    <a:lnTo>
                      <a:pt x="141" y="17"/>
                    </a:lnTo>
                    <a:lnTo>
                      <a:pt x="142" y="17"/>
                    </a:lnTo>
                    <a:lnTo>
                      <a:pt x="141" y="18"/>
                    </a:lnTo>
                    <a:lnTo>
                      <a:pt x="139" y="20"/>
                    </a:lnTo>
                    <a:lnTo>
                      <a:pt x="141" y="21"/>
                    </a:lnTo>
                    <a:lnTo>
                      <a:pt x="142" y="23"/>
                    </a:lnTo>
                    <a:close/>
                    <a:moveTo>
                      <a:pt x="97" y="21"/>
                    </a:moveTo>
                    <a:lnTo>
                      <a:pt x="95" y="21"/>
                    </a:lnTo>
                    <a:lnTo>
                      <a:pt x="95" y="20"/>
                    </a:lnTo>
                    <a:lnTo>
                      <a:pt x="93" y="20"/>
                    </a:lnTo>
                    <a:lnTo>
                      <a:pt x="93" y="18"/>
                    </a:lnTo>
                    <a:lnTo>
                      <a:pt x="95" y="17"/>
                    </a:lnTo>
                    <a:lnTo>
                      <a:pt x="97" y="18"/>
                    </a:lnTo>
                    <a:lnTo>
                      <a:pt x="97" y="20"/>
                    </a:lnTo>
                    <a:lnTo>
                      <a:pt x="97" y="21"/>
                    </a:lnTo>
                    <a:close/>
                    <a:moveTo>
                      <a:pt x="152" y="35"/>
                    </a:moveTo>
                    <a:lnTo>
                      <a:pt x="150" y="37"/>
                    </a:lnTo>
                    <a:lnTo>
                      <a:pt x="152" y="38"/>
                    </a:lnTo>
                    <a:lnTo>
                      <a:pt x="150" y="38"/>
                    </a:lnTo>
                    <a:lnTo>
                      <a:pt x="149" y="38"/>
                    </a:lnTo>
                    <a:lnTo>
                      <a:pt x="146" y="38"/>
                    </a:lnTo>
                    <a:lnTo>
                      <a:pt x="146" y="35"/>
                    </a:lnTo>
                    <a:lnTo>
                      <a:pt x="146" y="34"/>
                    </a:lnTo>
                    <a:lnTo>
                      <a:pt x="145" y="32"/>
                    </a:lnTo>
                    <a:lnTo>
                      <a:pt x="145" y="32"/>
                    </a:lnTo>
                    <a:lnTo>
                      <a:pt x="145" y="31"/>
                    </a:lnTo>
                    <a:lnTo>
                      <a:pt x="145" y="30"/>
                    </a:lnTo>
                    <a:lnTo>
                      <a:pt x="148" y="32"/>
                    </a:lnTo>
                    <a:lnTo>
                      <a:pt x="152" y="35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50" name="Denmark">
                <a:extLst>
                  <a:ext uri="{FF2B5EF4-FFF2-40B4-BE49-F238E27FC236}">
                    <a16:creationId xmlns:a16="http://schemas.microsoft.com/office/drawing/2014/main" id="{C849785B-BAF3-3D01-5DBD-E8E5F51964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41040" y="2522106"/>
                <a:ext cx="100890" cy="78992"/>
              </a:xfrm>
              <a:custGeom>
                <a:avLst/>
                <a:gdLst>
                  <a:gd name="T0" fmla="*/ 25 w 129"/>
                  <a:gd name="T1" fmla="*/ 94 h 101"/>
                  <a:gd name="T2" fmla="*/ 14 w 129"/>
                  <a:gd name="T3" fmla="*/ 93 h 101"/>
                  <a:gd name="T4" fmla="*/ 9 w 129"/>
                  <a:gd name="T5" fmla="*/ 86 h 101"/>
                  <a:gd name="T6" fmla="*/ 0 w 129"/>
                  <a:gd name="T7" fmla="*/ 71 h 101"/>
                  <a:gd name="T8" fmla="*/ 2 w 129"/>
                  <a:gd name="T9" fmla="*/ 37 h 101"/>
                  <a:gd name="T10" fmla="*/ 10 w 129"/>
                  <a:gd name="T11" fmla="*/ 41 h 101"/>
                  <a:gd name="T12" fmla="*/ 17 w 129"/>
                  <a:gd name="T13" fmla="*/ 32 h 101"/>
                  <a:gd name="T14" fmla="*/ 21 w 129"/>
                  <a:gd name="T15" fmla="*/ 25 h 101"/>
                  <a:gd name="T16" fmla="*/ 10 w 129"/>
                  <a:gd name="T17" fmla="*/ 34 h 101"/>
                  <a:gd name="T18" fmla="*/ 3 w 129"/>
                  <a:gd name="T19" fmla="*/ 30 h 101"/>
                  <a:gd name="T20" fmla="*/ 17 w 129"/>
                  <a:gd name="T21" fmla="*/ 19 h 101"/>
                  <a:gd name="T22" fmla="*/ 34 w 129"/>
                  <a:gd name="T23" fmla="*/ 5 h 101"/>
                  <a:gd name="T24" fmla="*/ 44 w 129"/>
                  <a:gd name="T25" fmla="*/ 4 h 101"/>
                  <a:gd name="T26" fmla="*/ 42 w 129"/>
                  <a:gd name="T27" fmla="*/ 19 h 101"/>
                  <a:gd name="T28" fmla="*/ 39 w 129"/>
                  <a:gd name="T29" fmla="*/ 37 h 101"/>
                  <a:gd name="T30" fmla="*/ 52 w 129"/>
                  <a:gd name="T31" fmla="*/ 43 h 101"/>
                  <a:gd name="T32" fmla="*/ 45 w 129"/>
                  <a:gd name="T33" fmla="*/ 51 h 101"/>
                  <a:gd name="T34" fmla="*/ 38 w 129"/>
                  <a:gd name="T35" fmla="*/ 62 h 101"/>
                  <a:gd name="T36" fmla="*/ 34 w 129"/>
                  <a:gd name="T37" fmla="*/ 64 h 101"/>
                  <a:gd name="T38" fmla="*/ 31 w 129"/>
                  <a:gd name="T39" fmla="*/ 71 h 101"/>
                  <a:gd name="T40" fmla="*/ 28 w 129"/>
                  <a:gd name="T41" fmla="*/ 82 h 101"/>
                  <a:gd name="T42" fmla="*/ 28 w 129"/>
                  <a:gd name="T43" fmla="*/ 89 h 101"/>
                  <a:gd name="T44" fmla="*/ 53 w 129"/>
                  <a:gd name="T45" fmla="*/ 16 h 101"/>
                  <a:gd name="T46" fmla="*/ 56 w 129"/>
                  <a:gd name="T47" fmla="*/ 13 h 101"/>
                  <a:gd name="T48" fmla="*/ 81 w 129"/>
                  <a:gd name="T49" fmla="*/ 69 h 101"/>
                  <a:gd name="T50" fmla="*/ 76 w 129"/>
                  <a:gd name="T51" fmla="*/ 75 h 101"/>
                  <a:gd name="T52" fmla="*/ 73 w 129"/>
                  <a:gd name="T53" fmla="*/ 83 h 101"/>
                  <a:gd name="T54" fmla="*/ 69 w 129"/>
                  <a:gd name="T55" fmla="*/ 97 h 101"/>
                  <a:gd name="T56" fmla="*/ 64 w 129"/>
                  <a:gd name="T57" fmla="*/ 83 h 101"/>
                  <a:gd name="T58" fmla="*/ 56 w 129"/>
                  <a:gd name="T59" fmla="*/ 79 h 101"/>
                  <a:gd name="T60" fmla="*/ 55 w 129"/>
                  <a:gd name="T61" fmla="*/ 69 h 101"/>
                  <a:gd name="T62" fmla="*/ 57 w 129"/>
                  <a:gd name="T63" fmla="*/ 66 h 101"/>
                  <a:gd name="T64" fmla="*/ 64 w 129"/>
                  <a:gd name="T65" fmla="*/ 59 h 101"/>
                  <a:gd name="T66" fmla="*/ 67 w 129"/>
                  <a:gd name="T67" fmla="*/ 68 h 101"/>
                  <a:gd name="T68" fmla="*/ 70 w 129"/>
                  <a:gd name="T69" fmla="*/ 59 h 101"/>
                  <a:gd name="T70" fmla="*/ 78 w 129"/>
                  <a:gd name="T71" fmla="*/ 54 h 101"/>
                  <a:gd name="T72" fmla="*/ 81 w 129"/>
                  <a:gd name="T73" fmla="*/ 61 h 101"/>
                  <a:gd name="T74" fmla="*/ 45 w 129"/>
                  <a:gd name="T75" fmla="*/ 62 h 101"/>
                  <a:gd name="T76" fmla="*/ 46 w 129"/>
                  <a:gd name="T77" fmla="*/ 62 h 101"/>
                  <a:gd name="T78" fmla="*/ 81 w 129"/>
                  <a:gd name="T79" fmla="*/ 72 h 101"/>
                  <a:gd name="T80" fmla="*/ 83 w 129"/>
                  <a:gd name="T81" fmla="*/ 69 h 101"/>
                  <a:gd name="T82" fmla="*/ 49 w 129"/>
                  <a:gd name="T83" fmla="*/ 79 h 101"/>
                  <a:gd name="T84" fmla="*/ 44 w 129"/>
                  <a:gd name="T85" fmla="*/ 89 h 101"/>
                  <a:gd name="T86" fmla="*/ 32 w 129"/>
                  <a:gd name="T87" fmla="*/ 79 h 101"/>
                  <a:gd name="T88" fmla="*/ 42 w 129"/>
                  <a:gd name="T89" fmla="*/ 72 h 101"/>
                  <a:gd name="T90" fmla="*/ 127 w 129"/>
                  <a:gd name="T91" fmla="*/ 90 h 101"/>
                  <a:gd name="T92" fmla="*/ 129 w 129"/>
                  <a:gd name="T93" fmla="*/ 85 h 101"/>
                  <a:gd name="T94" fmla="*/ 46 w 129"/>
                  <a:gd name="T95" fmla="*/ 96 h 101"/>
                  <a:gd name="T96" fmla="*/ 52 w 129"/>
                  <a:gd name="T97" fmla="*/ 85 h 101"/>
                  <a:gd name="T98" fmla="*/ 37 w 129"/>
                  <a:gd name="T99" fmla="*/ 93 h 101"/>
                  <a:gd name="T100" fmla="*/ 31 w 129"/>
                  <a:gd name="T101" fmla="*/ 87 h 101"/>
                  <a:gd name="T102" fmla="*/ 81 w 129"/>
                  <a:gd name="T103" fmla="*/ 90 h 101"/>
                  <a:gd name="T104" fmla="*/ 74 w 129"/>
                  <a:gd name="T105" fmla="*/ 91 h 101"/>
                  <a:gd name="T106" fmla="*/ 77 w 129"/>
                  <a:gd name="T107" fmla="*/ 89 h 101"/>
                  <a:gd name="T108" fmla="*/ 44 w 129"/>
                  <a:gd name="T109" fmla="*/ 94 h 101"/>
                  <a:gd name="T110" fmla="*/ 39 w 129"/>
                  <a:gd name="T111" fmla="*/ 91 h 101"/>
                  <a:gd name="T112" fmla="*/ 59 w 129"/>
                  <a:gd name="T113" fmla="*/ 93 h 101"/>
                  <a:gd name="T114" fmla="*/ 67 w 129"/>
                  <a:gd name="T115" fmla="*/ 100 h 101"/>
                  <a:gd name="T116" fmla="*/ 53 w 129"/>
                  <a:gd name="T117" fmla="*/ 93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9" h="101">
                    <a:moveTo>
                      <a:pt x="30" y="96"/>
                    </a:moveTo>
                    <a:lnTo>
                      <a:pt x="30" y="96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25" y="94"/>
                    </a:lnTo>
                    <a:lnTo>
                      <a:pt x="23" y="96"/>
                    </a:lnTo>
                    <a:lnTo>
                      <a:pt x="21" y="96"/>
                    </a:lnTo>
                    <a:lnTo>
                      <a:pt x="20" y="94"/>
                    </a:lnTo>
                    <a:lnTo>
                      <a:pt x="14" y="93"/>
                    </a:lnTo>
                    <a:lnTo>
                      <a:pt x="14" y="93"/>
                    </a:lnTo>
                    <a:lnTo>
                      <a:pt x="10" y="93"/>
                    </a:lnTo>
                    <a:lnTo>
                      <a:pt x="10" y="93"/>
                    </a:lnTo>
                    <a:lnTo>
                      <a:pt x="10" y="90"/>
                    </a:lnTo>
                    <a:lnTo>
                      <a:pt x="10" y="89"/>
                    </a:lnTo>
                    <a:lnTo>
                      <a:pt x="9" y="86"/>
                    </a:lnTo>
                    <a:lnTo>
                      <a:pt x="10" y="85"/>
                    </a:lnTo>
                    <a:lnTo>
                      <a:pt x="10" y="79"/>
                    </a:lnTo>
                    <a:lnTo>
                      <a:pt x="10" y="76"/>
                    </a:lnTo>
                    <a:lnTo>
                      <a:pt x="5" y="73"/>
                    </a:lnTo>
                    <a:lnTo>
                      <a:pt x="0" y="71"/>
                    </a:lnTo>
                    <a:lnTo>
                      <a:pt x="2" y="61"/>
                    </a:lnTo>
                    <a:lnTo>
                      <a:pt x="2" y="58"/>
                    </a:lnTo>
                    <a:lnTo>
                      <a:pt x="0" y="52"/>
                    </a:lnTo>
                    <a:lnTo>
                      <a:pt x="0" y="47"/>
                    </a:lnTo>
                    <a:lnTo>
                      <a:pt x="2" y="37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7" y="39"/>
                    </a:lnTo>
                    <a:lnTo>
                      <a:pt x="9" y="40"/>
                    </a:lnTo>
                    <a:lnTo>
                      <a:pt x="10" y="41"/>
                    </a:lnTo>
                    <a:lnTo>
                      <a:pt x="10" y="41"/>
                    </a:lnTo>
                    <a:lnTo>
                      <a:pt x="12" y="40"/>
                    </a:lnTo>
                    <a:lnTo>
                      <a:pt x="12" y="37"/>
                    </a:lnTo>
                    <a:lnTo>
                      <a:pt x="14" y="33"/>
                    </a:lnTo>
                    <a:lnTo>
                      <a:pt x="17" y="32"/>
                    </a:lnTo>
                    <a:lnTo>
                      <a:pt x="18" y="32"/>
                    </a:lnTo>
                    <a:lnTo>
                      <a:pt x="20" y="33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21" y="25"/>
                    </a:lnTo>
                    <a:lnTo>
                      <a:pt x="18" y="23"/>
                    </a:lnTo>
                    <a:lnTo>
                      <a:pt x="17" y="25"/>
                    </a:lnTo>
                    <a:lnTo>
                      <a:pt x="14" y="29"/>
                    </a:lnTo>
                    <a:lnTo>
                      <a:pt x="13" y="34"/>
                    </a:lnTo>
                    <a:lnTo>
                      <a:pt x="10" y="34"/>
                    </a:lnTo>
                    <a:lnTo>
                      <a:pt x="7" y="36"/>
                    </a:lnTo>
                    <a:lnTo>
                      <a:pt x="5" y="34"/>
                    </a:lnTo>
                    <a:lnTo>
                      <a:pt x="3" y="33"/>
                    </a:lnTo>
                    <a:lnTo>
                      <a:pt x="3" y="32"/>
                    </a:lnTo>
                    <a:lnTo>
                      <a:pt x="3" y="30"/>
                    </a:lnTo>
                    <a:lnTo>
                      <a:pt x="6" y="26"/>
                    </a:lnTo>
                    <a:lnTo>
                      <a:pt x="10" y="20"/>
                    </a:lnTo>
                    <a:lnTo>
                      <a:pt x="13" y="20"/>
                    </a:lnTo>
                    <a:lnTo>
                      <a:pt x="16" y="20"/>
                    </a:lnTo>
                    <a:lnTo>
                      <a:pt x="17" y="19"/>
                    </a:lnTo>
                    <a:lnTo>
                      <a:pt x="23" y="20"/>
                    </a:lnTo>
                    <a:lnTo>
                      <a:pt x="24" y="19"/>
                    </a:lnTo>
                    <a:lnTo>
                      <a:pt x="27" y="18"/>
                    </a:lnTo>
                    <a:lnTo>
                      <a:pt x="31" y="9"/>
                    </a:lnTo>
                    <a:lnTo>
                      <a:pt x="34" y="5"/>
                    </a:lnTo>
                    <a:lnTo>
                      <a:pt x="39" y="4"/>
                    </a:lnTo>
                    <a:lnTo>
                      <a:pt x="45" y="0"/>
                    </a:lnTo>
                    <a:lnTo>
                      <a:pt x="46" y="0"/>
                    </a:lnTo>
                    <a:lnTo>
                      <a:pt x="44" y="2"/>
                    </a:lnTo>
                    <a:lnTo>
                      <a:pt x="44" y="4"/>
                    </a:lnTo>
                    <a:lnTo>
                      <a:pt x="44" y="6"/>
                    </a:lnTo>
                    <a:lnTo>
                      <a:pt x="45" y="9"/>
                    </a:lnTo>
                    <a:lnTo>
                      <a:pt x="44" y="12"/>
                    </a:lnTo>
                    <a:lnTo>
                      <a:pt x="45" y="16"/>
                    </a:lnTo>
                    <a:lnTo>
                      <a:pt x="42" y="19"/>
                    </a:lnTo>
                    <a:lnTo>
                      <a:pt x="41" y="25"/>
                    </a:lnTo>
                    <a:lnTo>
                      <a:pt x="41" y="25"/>
                    </a:lnTo>
                    <a:lnTo>
                      <a:pt x="39" y="30"/>
                    </a:lnTo>
                    <a:lnTo>
                      <a:pt x="41" y="32"/>
                    </a:lnTo>
                    <a:lnTo>
                      <a:pt x="39" y="37"/>
                    </a:lnTo>
                    <a:lnTo>
                      <a:pt x="42" y="40"/>
                    </a:lnTo>
                    <a:lnTo>
                      <a:pt x="44" y="40"/>
                    </a:lnTo>
                    <a:lnTo>
                      <a:pt x="51" y="40"/>
                    </a:lnTo>
                    <a:lnTo>
                      <a:pt x="51" y="41"/>
                    </a:lnTo>
                    <a:lnTo>
                      <a:pt x="52" y="43"/>
                    </a:lnTo>
                    <a:lnTo>
                      <a:pt x="51" y="46"/>
                    </a:lnTo>
                    <a:lnTo>
                      <a:pt x="51" y="48"/>
                    </a:lnTo>
                    <a:lnTo>
                      <a:pt x="49" y="50"/>
                    </a:lnTo>
                    <a:lnTo>
                      <a:pt x="46" y="51"/>
                    </a:lnTo>
                    <a:lnTo>
                      <a:pt x="45" y="51"/>
                    </a:lnTo>
                    <a:lnTo>
                      <a:pt x="42" y="48"/>
                    </a:lnTo>
                    <a:lnTo>
                      <a:pt x="42" y="50"/>
                    </a:lnTo>
                    <a:lnTo>
                      <a:pt x="41" y="51"/>
                    </a:lnTo>
                    <a:lnTo>
                      <a:pt x="39" y="58"/>
                    </a:lnTo>
                    <a:lnTo>
                      <a:pt x="38" y="62"/>
                    </a:lnTo>
                    <a:lnTo>
                      <a:pt x="38" y="62"/>
                    </a:lnTo>
                    <a:lnTo>
                      <a:pt x="37" y="62"/>
                    </a:lnTo>
                    <a:lnTo>
                      <a:pt x="35" y="62"/>
                    </a:lnTo>
                    <a:lnTo>
                      <a:pt x="34" y="62"/>
                    </a:lnTo>
                    <a:lnTo>
                      <a:pt x="34" y="64"/>
                    </a:lnTo>
                    <a:lnTo>
                      <a:pt x="35" y="65"/>
                    </a:lnTo>
                    <a:lnTo>
                      <a:pt x="35" y="66"/>
                    </a:lnTo>
                    <a:lnTo>
                      <a:pt x="32" y="66"/>
                    </a:lnTo>
                    <a:lnTo>
                      <a:pt x="31" y="69"/>
                    </a:lnTo>
                    <a:lnTo>
                      <a:pt x="31" y="71"/>
                    </a:lnTo>
                    <a:lnTo>
                      <a:pt x="28" y="72"/>
                    </a:lnTo>
                    <a:lnTo>
                      <a:pt x="27" y="73"/>
                    </a:lnTo>
                    <a:lnTo>
                      <a:pt x="28" y="76"/>
                    </a:lnTo>
                    <a:lnTo>
                      <a:pt x="28" y="79"/>
                    </a:lnTo>
                    <a:lnTo>
                      <a:pt x="28" y="82"/>
                    </a:lnTo>
                    <a:lnTo>
                      <a:pt x="28" y="83"/>
                    </a:lnTo>
                    <a:lnTo>
                      <a:pt x="25" y="86"/>
                    </a:lnTo>
                    <a:lnTo>
                      <a:pt x="25" y="89"/>
                    </a:lnTo>
                    <a:lnTo>
                      <a:pt x="27" y="89"/>
                    </a:lnTo>
                    <a:lnTo>
                      <a:pt x="28" y="89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30" y="91"/>
                    </a:lnTo>
                    <a:lnTo>
                      <a:pt x="30" y="96"/>
                    </a:lnTo>
                    <a:close/>
                    <a:moveTo>
                      <a:pt x="53" y="16"/>
                    </a:moveTo>
                    <a:lnTo>
                      <a:pt x="53" y="18"/>
                    </a:lnTo>
                    <a:lnTo>
                      <a:pt x="51" y="16"/>
                    </a:lnTo>
                    <a:lnTo>
                      <a:pt x="52" y="15"/>
                    </a:lnTo>
                    <a:lnTo>
                      <a:pt x="55" y="13"/>
                    </a:lnTo>
                    <a:lnTo>
                      <a:pt x="56" y="13"/>
                    </a:lnTo>
                    <a:lnTo>
                      <a:pt x="55" y="15"/>
                    </a:lnTo>
                    <a:lnTo>
                      <a:pt x="53" y="16"/>
                    </a:lnTo>
                    <a:close/>
                    <a:moveTo>
                      <a:pt x="81" y="65"/>
                    </a:moveTo>
                    <a:lnTo>
                      <a:pt x="81" y="68"/>
                    </a:lnTo>
                    <a:lnTo>
                      <a:pt x="81" y="69"/>
                    </a:lnTo>
                    <a:lnTo>
                      <a:pt x="80" y="69"/>
                    </a:lnTo>
                    <a:lnTo>
                      <a:pt x="78" y="71"/>
                    </a:lnTo>
                    <a:lnTo>
                      <a:pt x="77" y="71"/>
                    </a:lnTo>
                    <a:lnTo>
                      <a:pt x="76" y="72"/>
                    </a:lnTo>
                    <a:lnTo>
                      <a:pt x="76" y="75"/>
                    </a:lnTo>
                    <a:lnTo>
                      <a:pt x="76" y="76"/>
                    </a:lnTo>
                    <a:lnTo>
                      <a:pt x="78" y="78"/>
                    </a:lnTo>
                    <a:lnTo>
                      <a:pt x="78" y="80"/>
                    </a:lnTo>
                    <a:lnTo>
                      <a:pt x="77" y="82"/>
                    </a:lnTo>
                    <a:lnTo>
                      <a:pt x="73" y="83"/>
                    </a:lnTo>
                    <a:lnTo>
                      <a:pt x="73" y="87"/>
                    </a:lnTo>
                    <a:lnTo>
                      <a:pt x="73" y="90"/>
                    </a:lnTo>
                    <a:lnTo>
                      <a:pt x="73" y="93"/>
                    </a:lnTo>
                    <a:lnTo>
                      <a:pt x="71" y="96"/>
                    </a:lnTo>
                    <a:lnTo>
                      <a:pt x="69" y="97"/>
                    </a:lnTo>
                    <a:lnTo>
                      <a:pt x="66" y="93"/>
                    </a:lnTo>
                    <a:lnTo>
                      <a:pt x="66" y="90"/>
                    </a:lnTo>
                    <a:lnTo>
                      <a:pt x="66" y="89"/>
                    </a:lnTo>
                    <a:lnTo>
                      <a:pt x="66" y="86"/>
                    </a:lnTo>
                    <a:lnTo>
                      <a:pt x="64" y="83"/>
                    </a:lnTo>
                    <a:lnTo>
                      <a:pt x="62" y="83"/>
                    </a:lnTo>
                    <a:lnTo>
                      <a:pt x="60" y="83"/>
                    </a:lnTo>
                    <a:lnTo>
                      <a:pt x="59" y="83"/>
                    </a:lnTo>
                    <a:lnTo>
                      <a:pt x="59" y="83"/>
                    </a:lnTo>
                    <a:lnTo>
                      <a:pt x="56" y="79"/>
                    </a:lnTo>
                    <a:lnTo>
                      <a:pt x="56" y="75"/>
                    </a:lnTo>
                    <a:lnTo>
                      <a:pt x="55" y="72"/>
                    </a:lnTo>
                    <a:lnTo>
                      <a:pt x="55" y="72"/>
                    </a:lnTo>
                    <a:lnTo>
                      <a:pt x="55" y="71"/>
                    </a:lnTo>
                    <a:lnTo>
                      <a:pt x="55" y="69"/>
                    </a:lnTo>
                    <a:lnTo>
                      <a:pt x="53" y="69"/>
                    </a:lnTo>
                    <a:lnTo>
                      <a:pt x="53" y="66"/>
                    </a:lnTo>
                    <a:lnTo>
                      <a:pt x="53" y="66"/>
                    </a:lnTo>
                    <a:lnTo>
                      <a:pt x="57" y="66"/>
                    </a:lnTo>
                    <a:lnTo>
                      <a:pt x="57" y="66"/>
                    </a:lnTo>
                    <a:lnTo>
                      <a:pt x="59" y="65"/>
                    </a:lnTo>
                    <a:lnTo>
                      <a:pt x="62" y="61"/>
                    </a:lnTo>
                    <a:lnTo>
                      <a:pt x="62" y="61"/>
                    </a:lnTo>
                    <a:lnTo>
                      <a:pt x="62" y="59"/>
                    </a:lnTo>
                    <a:lnTo>
                      <a:pt x="64" y="59"/>
                    </a:lnTo>
                    <a:lnTo>
                      <a:pt x="66" y="61"/>
                    </a:lnTo>
                    <a:lnTo>
                      <a:pt x="66" y="64"/>
                    </a:lnTo>
                    <a:lnTo>
                      <a:pt x="66" y="66"/>
                    </a:lnTo>
                    <a:lnTo>
                      <a:pt x="67" y="68"/>
                    </a:lnTo>
                    <a:lnTo>
                      <a:pt x="67" y="68"/>
                    </a:lnTo>
                    <a:lnTo>
                      <a:pt x="69" y="65"/>
                    </a:lnTo>
                    <a:lnTo>
                      <a:pt x="69" y="64"/>
                    </a:lnTo>
                    <a:lnTo>
                      <a:pt x="70" y="64"/>
                    </a:lnTo>
                    <a:lnTo>
                      <a:pt x="70" y="61"/>
                    </a:lnTo>
                    <a:lnTo>
                      <a:pt x="70" y="59"/>
                    </a:lnTo>
                    <a:lnTo>
                      <a:pt x="69" y="58"/>
                    </a:lnTo>
                    <a:lnTo>
                      <a:pt x="71" y="55"/>
                    </a:lnTo>
                    <a:lnTo>
                      <a:pt x="76" y="54"/>
                    </a:lnTo>
                    <a:lnTo>
                      <a:pt x="77" y="54"/>
                    </a:lnTo>
                    <a:lnTo>
                      <a:pt x="78" y="54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3" y="57"/>
                    </a:lnTo>
                    <a:lnTo>
                      <a:pt x="81" y="59"/>
                    </a:lnTo>
                    <a:lnTo>
                      <a:pt x="81" y="61"/>
                    </a:lnTo>
                    <a:lnTo>
                      <a:pt x="81" y="65"/>
                    </a:lnTo>
                    <a:close/>
                    <a:moveTo>
                      <a:pt x="46" y="65"/>
                    </a:moveTo>
                    <a:lnTo>
                      <a:pt x="45" y="65"/>
                    </a:lnTo>
                    <a:lnTo>
                      <a:pt x="45" y="65"/>
                    </a:lnTo>
                    <a:lnTo>
                      <a:pt x="45" y="62"/>
                    </a:lnTo>
                    <a:lnTo>
                      <a:pt x="45" y="61"/>
                    </a:lnTo>
                    <a:lnTo>
                      <a:pt x="44" y="59"/>
                    </a:lnTo>
                    <a:lnTo>
                      <a:pt x="45" y="58"/>
                    </a:lnTo>
                    <a:lnTo>
                      <a:pt x="46" y="61"/>
                    </a:lnTo>
                    <a:lnTo>
                      <a:pt x="46" y="62"/>
                    </a:lnTo>
                    <a:lnTo>
                      <a:pt x="46" y="64"/>
                    </a:lnTo>
                    <a:lnTo>
                      <a:pt x="46" y="65"/>
                    </a:lnTo>
                    <a:close/>
                    <a:moveTo>
                      <a:pt x="83" y="71"/>
                    </a:moveTo>
                    <a:lnTo>
                      <a:pt x="81" y="72"/>
                    </a:lnTo>
                    <a:lnTo>
                      <a:pt x="81" y="72"/>
                    </a:lnTo>
                    <a:lnTo>
                      <a:pt x="81" y="71"/>
                    </a:lnTo>
                    <a:lnTo>
                      <a:pt x="81" y="69"/>
                    </a:lnTo>
                    <a:lnTo>
                      <a:pt x="83" y="68"/>
                    </a:lnTo>
                    <a:lnTo>
                      <a:pt x="83" y="68"/>
                    </a:lnTo>
                    <a:lnTo>
                      <a:pt x="83" y="69"/>
                    </a:lnTo>
                    <a:lnTo>
                      <a:pt x="83" y="71"/>
                    </a:lnTo>
                    <a:close/>
                    <a:moveTo>
                      <a:pt x="46" y="71"/>
                    </a:moveTo>
                    <a:lnTo>
                      <a:pt x="48" y="72"/>
                    </a:lnTo>
                    <a:lnTo>
                      <a:pt x="48" y="75"/>
                    </a:lnTo>
                    <a:lnTo>
                      <a:pt x="49" y="79"/>
                    </a:lnTo>
                    <a:lnTo>
                      <a:pt x="49" y="82"/>
                    </a:lnTo>
                    <a:lnTo>
                      <a:pt x="49" y="83"/>
                    </a:lnTo>
                    <a:lnTo>
                      <a:pt x="49" y="86"/>
                    </a:lnTo>
                    <a:lnTo>
                      <a:pt x="46" y="87"/>
                    </a:lnTo>
                    <a:lnTo>
                      <a:pt x="44" y="89"/>
                    </a:lnTo>
                    <a:lnTo>
                      <a:pt x="39" y="87"/>
                    </a:lnTo>
                    <a:lnTo>
                      <a:pt x="35" y="85"/>
                    </a:lnTo>
                    <a:lnTo>
                      <a:pt x="34" y="83"/>
                    </a:lnTo>
                    <a:lnTo>
                      <a:pt x="34" y="82"/>
                    </a:lnTo>
                    <a:lnTo>
                      <a:pt x="32" y="79"/>
                    </a:lnTo>
                    <a:lnTo>
                      <a:pt x="32" y="73"/>
                    </a:lnTo>
                    <a:lnTo>
                      <a:pt x="35" y="72"/>
                    </a:lnTo>
                    <a:lnTo>
                      <a:pt x="39" y="71"/>
                    </a:lnTo>
                    <a:lnTo>
                      <a:pt x="41" y="71"/>
                    </a:lnTo>
                    <a:lnTo>
                      <a:pt x="42" y="72"/>
                    </a:lnTo>
                    <a:lnTo>
                      <a:pt x="44" y="72"/>
                    </a:lnTo>
                    <a:lnTo>
                      <a:pt x="46" y="71"/>
                    </a:lnTo>
                    <a:lnTo>
                      <a:pt x="46" y="71"/>
                    </a:lnTo>
                    <a:close/>
                    <a:moveTo>
                      <a:pt x="127" y="89"/>
                    </a:moveTo>
                    <a:lnTo>
                      <a:pt x="127" y="90"/>
                    </a:lnTo>
                    <a:lnTo>
                      <a:pt x="123" y="89"/>
                    </a:lnTo>
                    <a:lnTo>
                      <a:pt x="120" y="86"/>
                    </a:lnTo>
                    <a:lnTo>
                      <a:pt x="120" y="82"/>
                    </a:lnTo>
                    <a:lnTo>
                      <a:pt x="122" y="80"/>
                    </a:lnTo>
                    <a:lnTo>
                      <a:pt x="129" y="85"/>
                    </a:lnTo>
                    <a:lnTo>
                      <a:pt x="129" y="87"/>
                    </a:lnTo>
                    <a:lnTo>
                      <a:pt x="127" y="89"/>
                    </a:lnTo>
                    <a:close/>
                    <a:moveTo>
                      <a:pt x="48" y="97"/>
                    </a:moveTo>
                    <a:lnTo>
                      <a:pt x="48" y="97"/>
                    </a:lnTo>
                    <a:lnTo>
                      <a:pt x="46" y="96"/>
                    </a:lnTo>
                    <a:lnTo>
                      <a:pt x="46" y="94"/>
                    </a:lnTo>
                    <a:lnTo>
                      <a:pt x="48" y="93"/>
                    </a:lnTo>
                    <a:lnTo>
                      <a:pt x="48" y="91"/>
                    </a:lnTo>
                    <a:lnTo>
                      <a:pt x="51" y="87"/>
                    </a:lnTo>
                    <a:lnTo>
                      <a:pt x="52" y="85"/>
                    </a:lnTo>
                    <a:lnTo>
                      <a:pt x="52" y="85"/>
                    </a:lnTo>
                    <a:lnTo>
                      <a:pt x="52" y="87"/>
                    </a:lnTo>
                    <a:lnTo>
                      <a:pt x="49" y="96"/>
                    </a:lnTo>
                    <a:lnTo>
                      <a:pt x="48" y="97"/>
                    </a:lnTo>
                    <a:close/>
                    <a:moveTo>
                      <a:pt x="37" y="93"/>
                    </a:moveTo>
                    <a:lnTo>
                      <a:pt x="34" y="94"/>
                    </a:lnTo>
                    <a:lnTo>
                      <a:pt x="32" y="93"/>
                    </a:lnTo>
                    <a:lnTo>
                      <a:pt x="31" y="93"/>
                    </a:lnTo>
                    <a:lnTo>
                      <a:pt x="31" y="87"/>
                    </a:lnTo>
                    <a:lnTo>
                      <a:pt x="31" y="87"/>
                    </a:lnTo>
                    <a:lnTo>
                      <a:pt x="32" y="87"/>
                    </a:lnTo>
                    <a:lnTo>
                      <a:pt x="35" y="90"/>
                    </a:lnTo>
                    <a:lnTo>
                      <a:pt x="35" y="93"/>
                    </a:lnTo>
                    <a:lnTo>
                      <a:pt x="37" y="93"/>
                    </a:lnTo>
                    <a:close/>
                    <a:moveTo>
                      <a:pt x="81" y="90"/>
                    </a:moveTo>
                    <a:lnTo>
                      <a:pt x="80" y="91"/>
                    </a:lnTo>
                    <a:lnTo>
                      <a:pt x="77" y="91"/>
                    </a:lnTo>
                    <a:lnTo>
                      <a:pt x="74" y="93"/>
                    </a:lnTo>
                    <a:lnTo>
                      <a:pt x="73" y="93"/>
                    </a:lnTo>
                    <a:lnTo>
                      <a:pt x="74" y="91"/>
                    </a:lnTo>
                    <a:lnTo>
                      <a:pt x="74" y="90"/>
                    </a:lnTo>
                    <a:lnTo>
                      <a:pt x="76" y="90"/>
                    </a:lnTo>
                    <a:lnTo>
                      <a:pt x="76" y="89"/>
                    </a:lnTo>
                    <a:lnTo>
                      <a:pt x="76" y="87"/>
                    </a:lnTo>
                    <a:lnTo>
                      <a:pt x="77" y="89"/>
                    </a:lnTo>
                    <a:lnTo>
                      <a:pt x="78" y="89"/>
                    </a:lnTo>
                    <a:lnTo>
                      <a:pt x="80" y="89"/>
                    </a:lnTo>
                    <a:lnTo>
                      <a:pt x="81" y="90"/>
                    </a:lnTo>
                    <a:lnTo>
                      <a:pt x="81" y="90"/>
                    </a:lnTo>
                    <a:close/>
                    <a:moveTo>
                      <a:pt x="44" y="94"/>
                    </a:moveTo>
                    <a:lnTo>
                      <a:pt x="42" y="94"/>
                    </a:lnTo>
                    <a:lnTo>
                      <a:pt x="41" y="94"/>
                    </a:lnTo>
                    <a:lnTo>
                      <a:pt x="39" y="91"/>
                    </a:lnTo>
                    <a:lnTo>
                      <a:pt x="38" y="90"/>
                    </a:lnTo>
                    <a:lnTo>
                      <a:pt x="39" y="91"/>
                    </a:lnTo>
                    <a:lnTo>
                      <a:pt x="41" y="93"/>
                    </a:lnTo>
                    <a:lnTo>
                      <a:pt x="42" y="93"/>
                    </a:lnTo>
                    <a:lnTo>
                      <a:pt x="44" y="94"/>
                    </a:lnTo>
                    <a:lnTo>
                      <a:pt x="44" y="94"/>
                    </a:lnTo>
                    <a:close/>
                    <a:moveTo>
                      <a:pt x="59" y="93"/>
                    </a:moveTo>
                    <a:lnTo>
                      <a:pt x="63" y="96"/>
                    </a:lnTo>
                    <a:lnTo>
                      <a:pt x="64" y="94"/>
                    </a:lnTo>
                    <a:lnTo>
                      <a:pt x="66" y="96"/>
                    </a:lnTo>
                    <a:lnTo>
                      <a:pt x="67" y="97"/>
                    </a:lnTo>
                    <a:lnTo>
                      <a:pt x="67" y="100"/>
                    </a:lnTo>
                    <a:lnTo>
                      <a:pt x="66" y="100"/>
                    </a:lnTo>
                    <a:lnTo>
                      <a:pt x="63" y="100"/>
                    </a:lnTo>
                    <a:lnTo>
                      <a:pt x="62" y="101"/>
                    </a:lnTo>
                    <a:lnTo>
                      <a:pt x="53" y="97"/>
                    </a:lnTo>
                    <a:lnTo>
                      <a:pt x="53" y="93"/>
                    </a:lnTo>
                    <a:lnTo>
                      <a:pt x="55" y="91"/>
                    </a:lnTo>
                    <a:lnTo>
                      <a:pt x="57" y="91"/>
                    </a:lnTo>
                    <a:lnTo>
                      <a:pt x="59" y="93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51" name="Estonia">
                <a:extLst>
                  <a:ext uri="{FF2B5EF4-FFF2-40B4-BE49-F238E27FC236}">
                    <a16:creationId xmlns:a16="http://schemas.microsoft.com/office/drawing/2014/main" id="{0DC00AC9-AA5A-D7AC-FB1F-2B438FBF91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36565" y="2470487"/>
                <a:ext cx="89159" cy="56311"/>
              </a:xfrm>
              <a:custGeom>
                <a:avLst/>
                <a:gdLst>
                  <a:gd name="T0" fmla="*/ 114 w 114"/>
                  <a:gd name="T1" fmla="*/ 8 h 72"/>
                  <a:gd name="T2" fmla="*/ 113 w 114"/>
                  <a:gd name="T3" fmla="*/ 11 h 72"/>
                  <a:gd name="T4" fmla="*/ 107 w 114"/>
                  <a:gd name="T5" fmla="*/ 21 h 72"/>
                  <a:gd name="T6" fmla="*/ 101 w 114"/>
                  <a:gd name="T7" fmla="*/ 29 h 72"/>
                  <a:gd name="T8" fmla="*/ 103 w 114"/>
                  <a:gd name="T9" fmla="*/ 46 h 72"/>
                  <a:gd name="T10" fmla="*/ 106 w 114"/>
                  <a:gd name="T11" fmla="*/ 57 h 72"/>
                  <a:gd name="T12" fmla="*/ 107 w 114"/>
                  <a:gd name="T13" fmla="*/ 61 h 72"/>
                  <a:gd name="T14" fmla="*/ 103 w 114"/>
                  <a:gd name="T15" fmla="*/ 66 h 72"/>
                  <a:gd name="T16" fmla="*/ 100 w 114"/>
                  <a:gd name="T17" fmla="*/ 72 h 72"/>
                  <a:gd name="T18" fmla="*/ 94 w 114"/>
                  <a:gd name="T19" fmla="*/ 71 h 72"/>
                  <a:gd name="T20" fmla="*/ 85 w 114"/>
                  <a:gd name="T21" fmla="*/ 72 h 72"/>
                  <a:gd name="T22" fmla="*/ 76 w 114"/>
                  <a:gd name="T23" fmla="*/ 64 h 72"/>
                  <a:gd name="T24" fmla="*/ 71 w 114"/>
                  <a:gd name="T25" fmla="*/ 60 h 72"/>
                  <a:gd name="T26" fmla="*/ 62 w 114"/>
                  <a:gd name="T27" fmla="*/ 56 h 72"/>
                  <a:gd name="T28" fmla="*/ 61 w 114"/>
                  <a:gd name="T29" fmla="*/ 57 h 72"/>
                  <a:gd name="T30" fmla="*/ 54 w 114"/>
                  <a:gd name="T31" fmla="*/ 57 h 72"/>
                  <a:gd name="T32" fmla="*/ 44 w 114"/>
                  <a:gd name="T33" fmla="*/ 61 h 72"/>
                  <a:gd name="T34" fmla="*/ 48 w 114"/>
                  <a:gd name="T35" fmla="*/ 47 h 72"/>
                  <a:gd name="T36" fmla="*/ 46 w 114"/>
                  <a:gd name="T37" fmla="*/ 43 h 72"/>
                  <a:gd name="T38" fmla="*/ 39 w 114"/>
                  <a:gd name="T39" fmla="*/ 46 h 72"/>
                  <a:gd name="T40" fmla="*/ 32 w 114"/>
                  <a:gd name="T41" fmla="*/ 38 h 72"/>
                  <a:gd name="T42" fmla="*/ 33 w 114"/>
                  <a:gd name="T43" fmla="*/ 29 h 72"/>
                  <a:gd name="T44" fmla="*/ 29 w 114"/>
                  <a:gd name="T45" fmla="*/ 25 h 72"/>
                  <a:gd name="T46" fmla="*/ 29 w 114"/>
                  <a:gd name="T47" fmla="*/ 20 h 72"/>
                  <a:gd name="T48" fmla="*/ 35 w 114"/>
                  <a:gd name="T49" fmla="*/ 13 h 72"/>
                  <a:gd name="T50" fmla="*/ 46 w 114"/>
                  <a:gd name="T51" fmla="*/ 6 h 72"/>
                  <a:gd name="T52" fmla="*/ 67 w 114"/>
                  <a:gd name="T53" fmla="*/ 3 h 72"/>
                  <a:gd name="T54" fmla="*/ 72 w 114"/>
                  <a:gd name="T55" fmla="*/ 0 h 72"/>
                  <a:gd name="T56" fmla="*/ 93 w 114"/>
                  <a:gd name="T57" fmla="*/ 7 h 72"/>
                  <a:gd name="T58" fmla="*/ 113 w 114"/>
                  <a:gd name="T59" fmla="*/ 6 h 72"/>
                  <a:gd name="T60" fmla="*/ 16 w 114"/>
                  <a:gd name="T61" fmla="*/ 29 h 72"/>
                  <a:gd name="T62" fmla="*/ 11 w 114"/>
                  <a:gd name="T63" fmla="*/ 31 h 72"/>
                  <a:gd name="T64" fmla="*/ 4 w 114"/>
                  <a:gd name="T65" fmla="*/ 24 h 72"/>
                  <a:gd name="T66" fmla="*/ 15 w 114"/>
                  <a:gd name="T67" fmla="*/ 20 h 72"/>
                  <a:gd name="T68" fmla="*/ 19 w 114"/>
                  <a:gd name="T69" fmla="*/ 22 h 72"/>
                  <a:gd name="T70" fmla="*/ 28 w 114"/>
                  <a:gd name="T71" fmla="*/ 38 h 72"/>
                  <a:gd name="T72" fmla="*/ 23 w 114"/>
                  <a:gd name="T73" fmla="*/ 33 h 72"/>
                  <a:gd name="T74" fmla="*/ 14 w 114"/>
                  <a:gd name="T75" fmla="*/ 36 h 72"/>
                  <a:gd name="T76" fmla="*/ 21 w 114"/>
                  <a:gd name="T77" fmla="*/ 36 h 72"/>
                  <a:gd name="T78" fmla="*/ 22 w 114"/>
                  <a:gd name="T79" fmla="*/ 43 h 72"/>
                  <a:gd name="T80" fmla="*/ 16 w 114"/>
                  <a:gd name="T81" fmla="*/ 47 h 72"/>
                  <a:gd name="T82" fmla="*/ 8 w 114"/>
                  <a:gd name="T83" fmla="*/ 52 h 72"/>
                  <a:gd name="T84" fmla="*/ 3 w 114"/>
                  <a:gd name="T85" fmla="*/ 60 h 72"/>
                  <a:gd name="T86" fmla="*/ 7 w 114"/>
                  <a:gd name="T87" fmla="*/ 52 h 72"/>
                  <a:gd name="T88" fmla="*/ 0 w 114"/>
                  <a:gd name="T89" fmla="*/ 46 h 72"/>
                  <a:gd name="T90" fmla="*/ 3 w 114"/>
                  <a:gd name="T91" fmla="*/ 43 h 72"/>
                  <a:gd name="T92" fmla="*/ 4 w 114"/>
                  <a:gd name="T93" fmla="*/ 40 h 72"/>
                  <a:gd name="T94" fmla="*/ 8 w 114"/>
                  <a:gd name="T95" fmla="*/ 3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4" h="72">
                    <a:moveTo>
                      <a:pt x="113" y="6"/>
                    </a:moveTo>
                    <a:lnTo>
                      <a:pt x="113" y="6"/>
                    </a:lnTo>
                    <a:lnTo>
                      <a:pt x="114" y="8"/>
                    </a:lnTo>
                    <a:lnTo>
                      <a:pt x="114" y="8"/>
                    </a:lnTo>
                    <a:lnTo>
                      <a:pt x="114" y="10"/>
                    </a:lnTo>
                    <a:lnTo>
                      <a:pt x="113" y="10"/>
                    </a:lnTo>
                    <a:lnTo>
                      <a:pt x="113" y="11"/>
                    </a:lnTo>
                    <a:lnTo>
                      <a:pt x="113" y="11"/>
                    </a:lnTo>
                    <a:lnTo>
                      <a:pt x="111" y="11"/>
                    </a:lnTo>
                    <a:lnTo>
                      <a:pt x="110" y="13"/>
                    </a:lnTo>
                    <a:lnTo>
                      <a:pt x="108" y="15"/>
                    </a:lnTo>
                    <a:lnTo>
                      <a:pt x="107" y="21"/>
                    </a:lnTo>
                    <a:lnTo>
                      <a:pt x="104" y="24"/>
                    </a:lnTo>
                    <a:lnTo>
                      <a:pt x="103" y="27"/>
                    </a:lnTo>
                    <a:lnTo>
                      <a:pt x="101" y="28"/>
                    </a:lnTo>
                    <a:lnTo>
                      <a:pt x="101" y="29"/>
                    </a:lnTo>
                    <a:lnTo>
                      <a:pt x="101" y="32"/>
                    </a:lnTo>
                    <a:lnTo>
                      <a:pt x="103" y="42"/>
                    </a:lnTo>
                    <a:lnTo>
                      <a:pt x="103" y="43"/>
                    </a:lnTo>
                    <a:lnTo>
                      <a:pt x="103" y="46"/>
                    </a:lnTo>
                    <a:lnTo>
                      <a:pt x="103" y="47"/>
                    </a:lnTo>
                    <a:lnTo>
                      <a:pt x="103" y="49"/>
                    </a:lnTo>
                    <a:lnTo>
                      <a:pt x="104" y="52"/>
                    </a:lnTo>
                    <a:lnTo>
                      <a:pt x="106" y="57"/>
                    </a:lnTo>
                    <a:lnTo>
                      <a:pt x="106" y="59"/>
                    </a:lnTo>
                    <a:lnTo>
                      <a:pt x="107" y="60"/>
                    </a:lnTo>
                    <a:lnTo>
                      <a:pt x="107" y="61"/>
                    </a:lnTo>
                    <a:lnTo>
                      <a:pt x="107" y="61"/>
                    </a:lnTo>
                    <a:lnTo>
                      <a:pt x="107" y="61"/>
                    </a:lnTo>
                    <a:lnTo>
                      <a:pt x="107" y="63"/>
                    </a:lnTo>
                    <a:lnTo>
                      <a:pt x="103" y="64"/>
                    </a:lnTo>
                    <a:lnTo>
                      <a:pt x="103" y="66"/>
                    </a:lnTo>
                    <a:lnTo>
                      <a:pt x="103" y="67"/>
                    </a:lnTo>
                    <a:lnTo>
                      <a:pt x="101" y="68"/>
                    </a:lnTo>
                    <a:lnTo>
                      <a:pt x="100" y="70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97" y="72"/>
                    </a:lnTo>
                    <a:lnTo>
                      <a:pt x="94" y="71"/>
                    </a:lnTo>
                    <a:lnTo>
                      <a:pt x="93" y="70"/>
                    </a:lnTo>
                    <a:lnTo>
                      <a:pt x="92" y="70"/>
                    </a:lnTo>
                    <a:lnTo>
                      <a:pt x="90" y="71"/>
                    </a:lnTo>
                    <a:lnTo>
                      <a:pt x="85" y="72"/>
                    </a:lnTo>
                    <a:lnTo>
                      <a:pt x="83" y="72"/>
                    </a:lnTo>
                    <a:lnTo>
                      <a:pt x="81" y="71"/>
                    </a:lnTo>
                    <a:lnTo>
                      <a:pt x="79" y="68"/>
                    </a:lnTo>
                    <a:lnTo>
                      <a:pt x="76" y="64"/>
                    </a:lnTo>
                    <a:lnTo>
                      <a:pt x="76" y="63"/>
                    </a:lnTo>
                    <a:lnTo>
                      <a:pt x="75" y="63"/>
                    </a:lnTo>
                    <a:lnTo>
                      <a:pt x="72" y="61"/>
                    </a:lnTo>
                    <a:lnTo>
                      <a:pt x="71" y="60"/>
                    </a:lnTo>
                    <a:lnTo>
                      <a:pt x="69" y="60"/>
                    </a:lnTo>
                    <a:lnTo>
                      <a:pt x="68" y="59"/>
                    </a:lnTo>
                    <a:lnTo>
                      <a:pt x="64" y="56"/>
                    </a:lnTo>
                    <a:lnTo>
                      <a:pt x="62" y="56"/>
                    </a:lnTo>
                    <a:lnTo>
                      <a:pt x="62" y="56"/>
                    </a:lnTo>
                    <a:lnTo>
                      <a:pt x="62" y="57"/>
                    </a:lnTo>
                    <a:lnTo>
                      <a:pt x="62" y="57"/>
                    </a:lnTo>
                    <a:lnTo>
                      <a:pt x="61" y="57"/>
                    </a:lnTo>
                    <a:lnTo>
                      <a:pt x="61" y="56"/>
                    </a:lnTo>
                    <a:lnTo>
                      <a:pt x="60" y="54"/>
                    </a:lnTo>
                    <a:lnTo>
                      <a:pt x="55" y="57"/>
                    </a:lnTo>
                    <a:lnTo>
                      <a:pt x="54" y="57"/>
                    </a:lnTo>
                    <a:lnTo>
                      <a:pt x="53" y="57"/>
                    </a:lnTo>
                    <a:lnTo>
                      <a:pt x="47" y="60"/>
                    </a:lnTo>
                    <a:lnTo>
                      <a:pt x="46" y="61"/>
                    </a:lnTo>
                    <a:lnTo>
                      <a:pt x="44" y="61"/>
                    </a:lnTo>
                    <a:lnTo>
                      <a:pt x="46" y="60"/>
                    </a:lnTo>
                    <a:lnTo>
                      <a:pt x="47" y="53"/>
                    </a:lnTo>
                    <a:lnTo>
                      <a:pt x="48" y="47"/>
                    </a:lnTo>
                    <a:lnTo>
                      <a:pt x="48" y="47"/>
                    </a:lnTo>
                    <a:lnTo>
                      <a:pt x="48" y="46"/>
                    </a:lnTo>
                    <a:lnTo>
                      <a:pt x="48" y="45"/>
                    </a:lnTo>
                    <a:lnTo>
                      <a:pt x="46" y="43"/>
                    </a:lnTo>
                    <a:lnTo>
                      <a:pt x="46" y="43"/>
                    </a:lnTo>
                    <a:lnTo>
                      <a:pt x="44" y="46"/>
                    </a:lnTo>
                    <a:lnTo>
                      <a:pt x="43" y="47"/>
                    </a:lnTo>
                    <a:lnTo>
                      <a:pt x="42" y="47"/>
                    </a:lnTo>
                    <a:lnTo>
                      <a:pt x="39" y="46"/>
                    </a:lnTo>
                    <a:lnTo>
                      <a:pt x="35" y="45"/>
                    </a:lnTo>
                    <a:lnTo>
                      <a:pt x="33" y="42"/>
                    </a:lnTo>
                    <a:lnTo>
                      <a:pt x="33" y="39"/>
                    </a:lnTo>
                    <a:lnTo>
                      <a:pt x="32" y="38"/>
                    </a:lnTo>
                    <a:lnTo>
                      <a:pt x="30" y="35"/>
                    </a:lnTo>
                    <a:lnTo>
                      <a:pt x="30" y="32"/>
                    </a:lnTo>
                    <a:lnTo>
                      <a:pt x="33" y="31"/>
                    </a:lnTo>
                    <a:lnTo>
                      <a:pt x="33" y="29"/>
                    </a:lnTo>
                    <a:lnTo>
                      <a:pt x="30" y="29"/>
                    </a:lnTo>
                    <a:lnTo>
                      <a:pt x="30" y="29"/>
                    </a:lnTo>
                    <a:lnTo>
                      <a:pt x="30" y="29"/>
                    </a:lnTo>
                    <a:lnTo>
                      <a:pt x="29" y="25"/>
                    </a:lnTo>
                    <a:lnTo>
                      <a:pt x="30" y="24"/>
                    </a:lnTo>
                    <a:lnTo>
                      <a:pt x="30" y="22"/>
                    </a:lnTo>
                    <a:lnTo>
                      <a:pt x="29" y="21"/>
                    </a:lnTo>
                    <a:lnTo>
                      <a:pt x="29" y="20"/>
                    </a:lnTo>
                    <a:lnTo>
                      <a:pt x="30" y="18"/>
                    </a:lnTo>
                    <a:lnTo>
                      <a:pt x="30" y="15"/>
                    </a:lnTo>
                    <a:lnTo>
                      <a:pt x="33" y="14"/>
                    </a:lnTo>
                    <a:lnTo>
                      <a:pt x="35" y="13"/>
                    </a:lnTo>
                    <a:lnTo>
                      <a:pt x="40" y="13"/>
                    </a:lnTo>
                    <a:lnTo>
                      <a:pt x="40" y="10"/>
                    </a:lnTo>
                    <a:lnTo>
                      <a:pt x="43" y="8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5" y="4"/>
                    </a:lnTo>
                    <a:lnTo>
                      <a:pt x="65" y="4"/>
                    </a:lnTo>
                    <a:lnTo>
                      <a:pt x="67" y="3"/>
                    </a:lnTo>
                    <a:lnTo>
                      <a:pt x="67" y="1"/>
                    </a:lnTo>
                    <a:lnTo>
                      <a:pt x="67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83" y="3"/>
                    </a:lnTo>
                    <a:lnTo>
                      <a:pt x="86" y="3"/>
                    </a:lnTo>
                    <a:lnTo>
                      <a:pt x="90" y="6"/>
                    </a:lnTo>
                    <a:lnTo>
                      <a:pt x="93" y="7"/>
                    </a:lnTo>
                    <a:lnTo>
                      <a:pt x="100" y="7"/>
                    </a:lnTo>
                    <a:lnTo>
                      <a:pt x="110" y="7"/>
                    </a:lnTo>
                    <a:lnTo>
                      <a:pt x="111" y="6"/>
                    </a:lnTo>
                    <a:lnTo>
                      <a:pt x="113" y="6"/>
                    </a:lnTo>
                    <a:close/>
                    <a:moveTo>
                      <a:pt x="19" y="28"/>
                    </a:moveTo>
                    <a:lnTo>
                      <a:pt x="18" y="31"/>
                    </a:lnTo>
                    <a:lnTo>
                      <a:pt x="18" y="29"/>
                    </a:lnTo>
                    <a:lnTo>
                      <a:pt x="16" y="29"/>
                    </a:lnTo>
                    <a:lnTo>
                      <a:pt x="15" y="32"/>
                    </a:lnTo>
                    <a:lnTo>
                      <a:pt x="12" y="33"/>
                    </a:lnTo>
                    <a:lnTo>
                      <a:pt x="11" y="32"/>
                    </a:lnTo>
                    <a:lnTo>
                      <a:pt x="11" y="31"/>
                    </a:lnTo>
                    <a:lnTo>
                      <a:pt x="11" y="27"/>
                    </a:lnTo>
                    <a:lnTo>
                      <a:pt x="8" y="27"/>
                    </a:lnTo>
                    <a:lnTo>
                      <a:pt x="5" y="27"/>
                    </a:lnTo>
                    <a:lnTo>
                      <a:pt x="4" y="24"/>
                    </a:lnTo>
                    <a:lnTo>
                      <a:pt x="11" y="24"/>
                    </a:lnTo>
                    <a:lnTo>
                      <a:pt x="12" y="21"/>
                    </a:lnTo>
                    <a:lnTo>
                      <a:pt x="14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21"/>
                    </a:lnTo>
                    <a:lnTo>
                      <a:pt x="16" y="22"/>
                    </a:lnTo>
                    <a:lnTo>
                      <a:pt x="19" y="22"/>
                    </a:lnTo>
                    <a:lnTo>
                      <a:pt x="21" y="25"/>
                    </a:lnTo>
                    <a:lnTo>
                      <a:pt x="21" y="28"/>
                    </a:lnTo>
                    <a:lnTo>
                      <a:pt x="19" y="28"/>
                    </a:lnTo>
                    <a:close/>
                    <a:moveTo>
                      <a:pt x="28" y="38"/>
                    </a:moveTo>
                    <a:lnTo>
                      <a:pt x="26" y="39"/>
                    </a:lnTo>
                    <a:lnTo>
                      <a:pt x="22" y="36"/>
                    </a:lnTo>
                    <a:lnTo>
                      <a:pt x="23" y="35"/>
                    </a:lnTo>
                    <a:lnTo>
                      <a:pt x="23" y="33"/>
                    </a:lnTo>
                    <a:lnTo>
                      <a:pt x="28" y="35"/>
                    </a:lnTo>
                    <a:lnTo>
                      <a:pt x="28" y="38"/>
                    </a:lnTo>
                    <a:lnTo>
                      <a:pt x="28" y="38"/>
                    </a:lnTo>
                    <a:close/>
                    <a:moveTo>
                      <a:pt x="14" y="36"/>
                    </a:moveTo>
                    <a:lnTo>
                      <a:pt x="15" y="36"/>
                    </a:lnTo>
                    <a:lnTo>
                      <a:pt x="16" y="36"/>
                    </a:lnTo>
                    <a:lnTo>
                      <a:pt x="18" y="35"/>
                    </a:lnTo>
                    <a:lnTo>
                      <a:pt x="21" y="36"/>
                    </a:lnTo>
                    <a:lnTo>
                      <a:pt x="26" y="40"/>
                    </a:lnTo>
                    <a:lnTo>
                      <a:pt x="26" y="42"/>
                    </a:lnTo>
                    <a:lnTo>
                      <a:pt x="23" y="42"/>
                    </a:lnTo>
                    <a:lnTo>
                      <a:pt x="22" y="43"/>
                    </a:lnTo>
                    <a:lnTo>
                      <a:pt x="22" y="45"/>
                    </a:lnTo>
                    <a:lnTo>
                      <a:pt x="21" y="45"/>
                    </a:lnTo>
                    <a:lnTo>
                      <a:pt x="19" y="46"/>
                    </a:lnTo>
                    <a:lnTo>
                      <a:pt x="16" y="47"/>
                    </a:lnTo>
                    <a:lnTo>
                      <a:pt x="16" y="49"/>
                    </a:lnTo>
                    <a:lnTo>
                      <a:pt x="12" y="49"/>
                    </a:lnTo>
                    <a:lnTo>
                      <a:pt x="9" y="50"/>
                    </a:lnTo>
                    <a:lnTo>
                      <a:pt x="8" y="52"/>
                    </a:lnTo>
                    <a:lnTo>
                      <a:pt x="7" y="56"/>
                    </a:lnTo>
                    <a:lnTo>
                      <a:pt x="5" y="59"/>
                    </a:lnTo>
                    <a:lnTo>
                      <a:pt x="4" y="59"/>
                    </a:lnTo>
                    <a:lnTo>
                      <a:pt x="3" y="60"/>
                    </a:lnTo>
                    <a:lnTo>
                      <a:pt x="3" y="59"/>
                    </a:lnTo>
                    <a:lnTo>
                      <a:pt x="3" y="57"/>
                    </a:lnTo>
                    <a:lnTo>
                      <a:pt x="5" y="53"/>
                    </a:lnTo>
                    <a:lnTo>
                      <a:pt x="7" y="52"/>
                    </a:lnTo>
                    <a:lnTo>
                      <a:pt x="5" y="52"/>
                    </a:lnTo>
                    <a:lnTo>
                      <a:pt x="4" y="50"/>
                    </a:lnTo>
                    <a:lnTo>
                      <a:pt x="1" y="47"/>
                    </a:lnTo>
                    <a:lnTo>
                      <a:pt x="0" y="46"/>
                    </a:lnTo>
                    <a:lnTo>
                      <a:pt x="1" y="46"/>
                    </a:lnTo>
                    <a:lnTo>
                      <a:pt x="1" y="46"/>
                    </a:lnTo>
                    <a:lnTo>
                      <a:pt x="3" y="45"/>
                    </a:lnTo>
                    <a:lnTo>
                      <a:pt x="3" y="43"/>
                    </a:lnTo>
                    <a:lnTo>
                      <a:pt x="0" y="40"/>
                    </a:lnTo>
                    <a:lnTo>
                      <a:pt x="1" y="39"/>
                    </a:lnTo>
                    <a:lnTo>
                      <a:pt x="3" y="39"/>
                    </a:lnTo>
                    <a:lnTo>
                      <a:pt x="4" y="40"/>
                    </a:lnTo>
                    <a:lnTo>
                      <a:pt x="5" y="39"/>
                    </a:lnTo>
                    <a:lnTo>
                      <a:pt x="7" y="39"/>
                    </a:lnTo>
                    <a:lnTo>
                      <a:pt x="8" y="39"/>
                    </a:lnTo>
                    <a:lnTo>
                      <a:pt x="8" y="38"/>
                    </a:lnTo>
                    <a:lnTo>
                      <a:pt x="11" y="36"/>
                    </a:lnTo>
                    <a:lnTo>
                      <a:pt x="12" y="35"/>
                    </a:lnTo>
                    <a:lnTo>
                      <a:pt x="14" y="36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52" name="Spain">
                <a:extLst>
                  <a:ext uri="{FF2B5EF4-FFF2-40B4-BE49-F238E27FC236}">
                    <a16:creationId xmlns:a16="http://schemas.microsoft.com/office/drawing/2014/main" id="{88ADC3BC-8439-E4E8-3F7F-83C82EF865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68763" y="2838072"/>
                <a:ext cx="319095" cy="283119"/>
              </a:xfrm>
              <a:custGeom>
                <a:avLst/>
                <a:gdLst>
                  <a:gd name="T0" fmla="*/ 304 w 408"/>
                  <a:gd name="T1" fmla="*/ 14 h 362"/>
                  <a:gd name="T2" fmla="*/ 305 w 408"/>
                  <a:gd name="T3" fmla="*/ 16 h 362"/>
                  <a:gd name="T4" fmla="*/ 319 w 408"/>
                  <a:gd name="T5" fmla="*/ 25 h 362"/>
                  <a:gd name="T6" fmla="*/ 327 w 408"/>
                  <a:gd name="T7" fmla="*/ 26 h 362"/>
                  <a:gd name="T8" fmla="*/ 341 w 408"/>
                  <a:gd name="T9" fmla="*/ 25 h 362"/>
                  <a:gd name="T10" fmla="*/ 355 w 408"/>
                  <a:gd name="T11" fmla="*/ 29 h 362"/>
                  <a:gd name="T12" fmla="*/ 359 w 408"/>
                  <a:gd name="T13" fmla="*/ 32 h 362"/>
                  <a:gd name="T14" fmla="*/ 372 w 408"/>
                  <a:gd name="T15" fmla="*/ 34 h 362"/>
                  <a:gd name="T16" fmla="*/ 383 w 408"/>
                  <a:gd name="T17" fmla="*/ 32 h 362"/>
                  <a:gd name="T18" fmla="*/ 386 w 408"/>
                  <a:gd name="T19" fmla="*/ 40 h 362"/>
                  <a:gd name="T20" fmla="*/ 368 w 408"/>
                  <a:gd name="T21" fmla="*/ 61 h 362"/>
                  <a:gd name="T22" fmla="*/ 343 w 408"/>
                  <a:gd name="T23" fmla="*/ 76 h 362"/>
                  <a:gd name="T24" fmla="*/ 323 w 408"/>
                  <a:gd name="T25" fmla="*/ 106 h 362"/>
                  <a:gd name="T26" fmla="*/ 320 w 408"/>
                  <a:gd name="T27" fmla="*/ 131 h 362"/>
                  <a:gd name="T28" fmla="*/ 315 w 408"/>
                  <a:gd name="T29" fmla="*/ 147 h 362"/>
                  <a:gd name="T30" fmla="*/ 287 w 408"/>
                  <a:gd name="T31" fmla="*/ 165 h 362"/>
                  <a:gd name="T32" fmla="*/ 265 w 408"/>
                  <a:gd name="T33" fmla="*/ 167 h 362"/>
                  <a:gd name="T34" fmla="*/ 233 w 408"/>
                  <a:gd name="T35" fmla="*/ 178 h 362"/>
                  <a:gd name="T36" fmla="*/ 221 w 408"/>
                  <a:gd name="T37" fmla="*/ 179 h 362"/>
                  <a:gd name="T38" fmla="*/ 214 w 408"/>
                  <a:gd name="T39" fmla="*/ 164 h 362"/>
                  <a:gd name="T40" fmla="*/ 203 w 408"/>
                  <a:gd name="T41" fmla="*/ 156 h 362"/>
                  <a:gd name="T42" fmla="*/ 196 w 408"/>
                  <a:gd name="T43" fmla="*/ 140 h 362"/>
                  <a:gd name="T44" fmla="*/ 196 w 408"/>
                  <a:gd name="T45" fmla="*/ 126 h 362"/>
                  <a:gd name="T46" fmla="*/ 202 w 408"/>
                  <a:gd name="T47" fmla="*/ 113 h 362"/>
                  <a:gd name="T48" fmla="*/ 201 w 408"/>
                  <a:gd name="T49" fmla="*/ 99 h 362"/>
                  <a:gd name="T50" fmla="*/ 202 w 408"/>
                  <a:gd name="T51" fmla="*/ 87 h 362"/>
                  <a:gd name="T52" fmla="*/ 206 w 408"/>
                  <a:gd name="T53" fmla="*/ 76 h 362"/>
                  <a:gd name="T54" fmla="*/ 213 w 408"/>
                  <a:gd name="T55" fmla="*/ 60 h 362"/>
                  <a:gd name="T56" fmla="*/ 210 w 408"/>
                  <a:gd name="T57" fmla="*/ 51 h 362"/>
                  <a:gd name="T58" fmla="*/ 205 w 408"/>
                  <a:gd name="T59" fmla="*/ 46 h 362"/>
                  <a:gd name="T60" fmla="*/ 195 w 408"/>
                  <a:gd name="T61" fmla="*/ 48 h 362"/>
                  <a:gd name="T62" fmla="*/ 181 w 408"/>
                  <a:gd name="T63" fmla="*/ 48 h 362"/>
                  <a:gd name="T64" fmla="*/ 180 w 408"/>
                  <a:gd name="T65" fmla="*/ 40 h 362"/>
                  <a:gd name="T66" fmla="*/ 169 w 408"/>
                  <a:gd name="T67" fmla="*/ 41 h 362"/>
                  <a:gd name="T68" fmla="*/ 170 w 408"/>
                  <a:gd name="T69" fmla="*/ 32 h 362"/>
                  <a:gd name="T70" fmla="*/ 166 w 408"/>
                  <a:gd name="T71" fmla="*/ 23 h 362"/>
                  <a:gd name="T72" fmla="*/ 171 w 408"/>
                  <a:gd name="T73" fmla="*/ 11 h 362"/>
                  <a:gd name="T74" fmla="*/ 184 w 408"/>
                  <a:gd name="T75" fmla="*/ 2 h 362"/>
                  <a:gd name="T76" fmla="*/ 209 w 408"/>
                  <a:gd name="T77" fmla="*/ 4 h 362"/>
                  <a:gd name="T78" fmla="*/ 251 w 408"/>
                  <a:gd name="T79" fmla="*/ 9 h 362"/>
                  <a:gd name="T80" fmla="*/ 277 w 408"/>
                  <a:gd name="T81" fmla="*/ 8 h 362"/>
                  <a:gd name="T82" fmla="*/ 401 w 408"/>
                  <a:gd name="T83" fmla="*/ 93 h 362"/>
                  <a:gd name="T84" fmla="*/ 407 w 408"/>
                  <a:gd name="T85" fmla="*/ 96 h 362"/>
                  <a:gd name="T86" fmla="*/ 389 w 408"/>
                  <a:gd name="T87" fmla="*/ 104 h 362"/>
                  <a:gd name="T88" fmla="*/ 377 w 408"/>
                  <a:gd name="T89" fmla="*/ 103 h 362"/>
                  <a:gd name="T90" fmla="*/ 387 w 408"/>
                  <a:gd name="T91" fmla="*/ 93 h 362"/>
                  <a:gd name="T92" fmla="*/ 355 w 408"/>
                  <a:gd name="T93" fmla="*/ 118 h 362"/>
                  <a:gd name="T94" fmla="*/ 359 w 408"/>
                  <a:gd name="T95" fmla="*/ 114 h 362"/>
                  <a:gd name="T96" fmla="*/ 355 w 408"/>
                  <a:gd name="T97" fmla="*/ 121 h 362"/>
                  <a:gd name="T98" fmla="*/ 81 w 408"/>
                  <a:gd name="T99" fmla="*/ 331 h 362"/>
                  <a:gd name="T100" fmla="*/ 6 w 408"/>
                  <a:gd name="T101" fmla="*/ 344 h 362"/>
                  <a:gd name="T102" fmla="*/ 7 w 408"/>
                  <a:gd name="T103" fmla="*/ 341 h 362"/>
                  <a:gd name="T104" fmla="*/ 72 w 408"/>
                  <a:gd name="T105" fmla="*/ 347 h 362"/>
                  <a:gd name="T106" fmla="*/ 77 w 408"/>
                  <a:gd name="T107" fmla="*/ 349 h 362"/>
                  <a:gd name="T108" fmla="*/ 22 w 408"/>
                  <a:gd name="T109" fmla="*/ 348 h 362"/>
                  <a:gd name="T110" fmla="*/ 17 w 408"/>
                  <a:gd name="T111" fmla="*/ 354 h 362"/>
                  <a:gd name="T112" fmla="*/ 18 w 408"/>
                  <a:gd name="T113" fmla="*/ 352 h 362"/>
                  <a:gd name="T114" fmla="*/ 45 w 408"/>
                  <a:gd name="T115" fmla="*/ 359 h 362"/>
                  <a:gd name="T116" fmla="*/ 4 w 408"/>
                  <a:gd name="T117" fmla="*/ 358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08" h="362">
                    <a:moveTo>
                      <a:pt x="297" y="9"/>
                    </a:moveTo>
                    <a:lnTo>
                      <a:pt x="297" y="9"/>
                    </a:lnTo>
                    <a:lnTo>
                      <a:pt x="298" y="11"/>
                    </a:lnTo>
                    <a:lnTo>
                      <a:pt x="298" y="12"/>
                    </a:lnTo>
                    <a:lnTo>
                      <a:pt x="299" y="12"/>
                    </a:lnTo>
                    <a:lnTo>
                      <a:pt x="301" y="12"/>
                    </a:lnTo>
                    <a:lnTo>
                      <a:pt x="302" y="12"/>
                    </a:lnTo>
                    <a:lnTo>
                      <a:pt x="304" y="14"/>
                    </a:lnTo>
                    <a:lnTo>
                      <a:pt x="304" y="14"/>
                    </a:lnTo>
                    <a:lnTo>
                      <a:pt x="304" y="15"/>
                    </a:lnTo>
                    <a:lnTo>
                      <a:pt x="302" y="16"/>
                    </a:lnTo>
                    <a:lnTo>
                      <a:pt x="302" y="18"/>
                    </a:lnTo>
                    <a:lnTo>
                      <a:pt x="302" y="18"/>
                    </a:lnTo>
                    <a:lnTo>
                      <a:pt x="304" y="18"/>
                    </a:lnTo>
                    <a:lnTo>
                      <a:pt x="304" y="18"/>
                    </a:lnTo>
                    <a:lnTo>
                      <a:pt x="305" y="18"/>
                    </a:lnTo>
                    <a:lnTo>
                      <a:pt x="305" y="18"/>
                    </a:lnTo>
                    <a:lnTo>
                      <a:pt x="305" y="16"/>
                    </a:lnTo>
                    <a:lnTo>
                      <a:pt x="305" y="16"/>
                    </a:lnTo>
                    <a:lnTo>
                      <a:pt x="305" y="18"/>
                    </a:lnTo>
                    <a:lnTo>
                      <a:pt x="306" y="18"/>
                    </a:lnTo>
                    <a:lnTo>
                      <a:pt x="308" y="19"/>
                    </a:lnTo>
                    <a:lnTo>
                      <a:pt x="312" y="21"/>
                    </a:lnTo>
                    <a:lnTo>
                      <a:pt x="313" y="21"/>
                    </a:lnTo>
                    <a:lnTo>
                      <a:pt x="315" y="21"/>
                    </a:lnTo>
                    <a:lnTo>
                      <a:pt x="316" y="22"/>
                    </a:lnTo>
                    <a:lnTo>
                      <a:pt x="319" y="25"/>
                    </a:lnTo>
                    <a:lnTo>
                      <a:pt x="319" y="25"/>
                    </a:lnTo>
                    <a:lnTo>
                      <a:pt x="320" y="25"/>
                    </a:lnTo>
                    <a:lnTo>
                      <a:pt x="322" y="23"/>
                    </a:lnTo>
                    <a:lnTo>
                      <a:pt x="323" y="23"/>
                    </a:lnTo>
                    <a:lnTo>
                      <a:pt x="323" y="23"/>
                    </a:lnTo>
                    <a:lnTo>
                      <a:pt x="325" y="23"/>
                    </a:lnTo>
                    <a:lnTo>
                      <a:pt x="326" y="25"/>
                    </a:lnTo>
                    <a:lnTo>
                      <a:pt x="327" y="25"/>
                    </a:lnTo>
                    <a:lnTo>
                      <a:pt x="327" y="26"/>
                    </a:lnTo>
                    <a:lnTo>
                      <a:pt x="329" y="26"/>
                    </a:lnTo>
                    <a:lnTo>
                      <a:pt x="333" y="26"/>
                    </a:lnTo>
                    <a:lnTo>
                      <a:pt x="334" y="26"/>
                    </a:lnTo>
                    <a:lnTo>
                      <a:pt x="334" y="26"/>
                    </a:lnTo>
                    <a:lnTo>
                      <a:pt x="336" y="26"/>
                    </a:lnTo>
                    <a:lnTo>
                      <a:pt x="338" y="28"/>
                    </a:lnTo>
                    <a:lnTo>
                      <a:pt x="341" y="26"/>
                    </a:lnTo>
                    <a:lnTo>
                      <a:pt x="341" y="26"/>
                    </a:lnTo>
                    <a:lnTo>
                      <a:pt x="341" y="25"/>
                    </a:lnTo>
                    <a:lnTo>
                      <a:pt x="341" y="23"/>
                    </a:lnTo>
                    <a:lnTo>
                      <a:pt x="341" y="23"/>
                    </a:lnTo>
                    <a:lnTo>
                      <a:pt x="343" y="23"/>
                    </a:lnTo>
                    <a:lnTo>
                      <a:pt x="348" y="25"/>
                    </a:lnTo>
                    <a:lnTo>
                      <a:pt x="350" y="26"/>
                    </a:lnTo>
                    <a:lnTo>
                      <a:pt x="351" y="26"/>
                    </a:lnTo>
                    <a:lnTo>
                      <a:pt x="352" y="26"/>
                    </a:lnTo>
                    <a:lnTo>
                      <a:pt x="354" y="26"/>
                    </a:lnTo>
                    <a:lnTo>
                      <a:pt x="355" y="29"/>
                    </a:lnTo>
                    <a:lnTo>
                      <a:pt x="355" y="30"/>
                    </a:lnTo>
                    <a:lnTo>
                      <a:pt x="355" y="30"/>
                    </a:lnTo>
                    <a:lnTo>
                      <a:pt x="355" y="32"/>
                    </a:lnTo>
                    <a:lnTo>
                      <a:pt x="355" y="33"/>
                    </a:lnTo>
                    <a:lnTo>
                      <a:pt x="355" y="33"/>
                    </a:lnTo>
                    <a:lnTo>
                      <a:pt x="357" y="33"/>
                    </a:lnTo>
                    <a:lnTo>
                      <a:pt x="357" y="33"/>
                    </a:lnTo>
                    <a:lnTo>
                      <a:pt x="358" y="33"/>
                    </a:lnTo>
                    <a:lnTo>
                      <a:pt x="359" y="32"/>
                    </a:lnTo>
                    <a:lnTo>
                      <a:pt x="361" y="32"/>
                    </a:lnTo>
                    <a:lnTo>
                      <a:pt x="364" y="33"/>
                    </a:lnTo>
                    <a:lnTo>
                      <a:pt x="365" y="33"/>
                    </a:lnTo>
                    <a:lnTo>
                      <a:pt x="365" y="34"/>
                    </a:lnTo>
                    <a:lnTo>
                      <a:pt x="365" y="34"/>
                    </a:lnTo>
                    <a:lnTo>
                      <a:pt x="366" y="34"/>
                    </a:lnTo>
                    <a:lnTo>
                      <a:pt x="368" y="34"/>
                    </a:lnTo>
                    <a:lnTo>
                      <a:pt x="369" y="33"/>
                    </a:lnTo>
                    <a:lnTo>
                      <a:pt x="372" y="34"/>
                    </a:lnTo>
                    <a:lnTo>
                      <a:pt x="376" y="36"/>
                    </a:lnTo>
                    <a:lnTo>
                      <a:pt x="377" y="36"/>
                    </a:lnTo>
                    <a:lnTo>
                      <a:pt x="377" y="34"/>
                    </a:lnTo>
                    <a:lnTo>
                      <a:pt x="377" y="34"/>
                    </a:lnTo>
                    <a:lnTo>
                      <a:pt x="379" y="33"/>
                    </a:lnTo>
                    <a:lnTo>
                      <a:pt x="379" y="33"/>
                    </a:lnTo>
                    <a:lnTo>
                      <a:pt x="380" y="33"/>
                    </a:lnTo>
                    <a:lnTo>
                      <a:pt x="382" y="33"/>
                    </a:lnTo>
                    <a:lnTo>
                      <a:pt x="383" y="32"/>
                    </a:lnTo>
                    <a:lnTo>
                      <a:pt x="384" y="33"/>
                    </a:lnTo>
                    <a:lnTo>
                      <a:pt x="386" y="33"/>
                    </a:lnTo>
                    <a:lnTo>
                      <a:pt x="387" y="33"/>
                    </a:lnTo>
                    <a:lnTo>
                      <a:pt x="389" y="34"/>
                    </a:lnTo>
                    <a:lnTo>
                      <a:pt x="389" y="36"/>
                    </a:lnTo>
                    <a:lnTo>
                      <a:pt x="389" y="37"/>
                    </a:lnTo>
                    <a:lnTo>
                      <a:pt x="387" y="37"/>
                    </a:lnTo>
                    <a:lnTo>
                      <a:pt x="387" y="37"/>
                    </a:lnTo>
                    <a:lnTo>
                      <a:pt x="386" y="40"/>
                    </a:lnTo>
                    <a:lnTo>
                      <a:pt x="387" y="40"/>
                    </a:lnTo>
                    <a:lnTo>
                      <a:pt x="387" y="41"/>
                    </a:lnTo>
                    <a:lnTo>
                      <a:pt x="389" y="41"/>
                    </a:lnTo>
                    <a:lnTo>
                      <a:pt x="389" y="46"/>
                    </a:lnTo>
                    <a:lnTo>
                      <a:pt x="386" y="47"/>
                    </a:lnTo>
                    <a:lnTo>
                      <a:pt x="384" y="50"/>
                    </a:lnTo>
                    <a:lnTo>
                      <a:pt x="372" y="57"/>
                    </a:lnTo>
                    <a:lnTo>
                      <a:pt x="368" y="60"/>
                    </a:lnTo>
                    <a:lnTo>
                      <a:pt x="368" y="61"/>
                    </a:lnTo>
                    <a:lnTo>
                      <a:pt x="358" y="64"/>
                    </a:lnTo>
                    <a:lnTo>
                      <a:pt x="351" y="65"/>
                    </a:lnTo>
                    <a:lnTo>
                      <a:pt x="348" y="67"/>
                    </a:lnTo>
                    <a:lnTo>
                      <a:pt x="344" y="71"/>
                    </a:lnTo>
                    <a:lnTo>
                      <a:pt x="343" y="72"/>
                    </a:lnTo>
                    <a:lnTo>
                      <a:pt x="344" y="72"/>
                    </a:lnTo>
                    <a:lnTo>
                      <a:pt x="345" y="75"/>
                    </a:lnTo>
                    <a:lnTo>
                      <a:pt x="345" y="75"/>
                    </a:lnTo>
                    <a:lnTo>
                      <a:pt x="343" y="76"/>
                    </a:lnTo>
                    <a:lnTo>
                      <a:pt x="341" y="78"/>
                    </a:lnTo>
                    <a:lnTo>
                      <a:pt x="341" y="76"/>
                    </a:lnTo>
                    <a:lnTo>
                      <a:pt x="340" y="78"/>
                    </a:lnTo>
                    <a:lnTo>
                      <a:pt x="336" y="85"/>
                    </a:lnTo>
                    <a:lnTo>
                      <a:pt x="332" y="89"/>
                    </a:lnTo>
                    <a:lnTo>
                      <a:pt x="330" y="92"/>
                    </a:lnTo>
                    <a:lnTo>
                      <a:pt x="327" y="94"/>
                    </a:lnTo>
                    <a:lnTo>
                      <a:pt x="323" y="103"/>
                    </a:lnTo>
                    <a:lnTo>
                      <a:pt x="323" y="106"/>
                    </a:lnTo>
                    <a:lnTo>
                      <a:pt x="326" y="114"/>
                    </a:lnTo>
                    <a:lnTo>
                      <a:pt x="327" y="115"/>
                    </a:lnTo>
                    <a:lnTo>
                      <a:pt x="329" y="118"/>
                    </a:lnTo>
                    <a:lnTo>
                      <a:pt x="332" y="119"/>
                    </a:lnTo>
                    <a:lnTo>
                      <a:pt x="333" y="121"/>
                    </a:lnTo>
                    <a:lnTo>
                      <a:pt x="332" y="122"/>
                    </a:lnTo>
                    <a:lnTo>
                      <a:pt x="329" y="125"/>
                    </a:lnTo>
                    <a:lnTo>
                      <a:pt x="322" y="128"/>
                    </a:lnTo>
                    <a:lnTo>
                      <a:pt x="320" y="131"/>
                    </a:lnTo>
                    <a:lnTo>
                      <a:pt x="319" y="133"/>
                    </a:lnTo>
                    <a:lnTo>
                      <a:pt x="318" y="135"/>
                    </a:lnTo>
                    <a:lnTo>
                      <a:pt x="316" y="139"/>
                    </a:lnTo>
                    <a:lnTo>
                      <a:pt x="316" y="140"/>
                    </a:lnTo>
                    <a:lnTo>
                      <a:pt x="316" y="142"/>
                    </a:lnTo>
                    <a:lnTo>
                      <a:pt x="315" y="143"/>
                    </a:lnTo>
                    <a:lnTo>
                      <a:pt x="315" y="145"/>
                    </a:lnTo>
                    <a:lnTo>
                      <a:pt x="316" y="147"/>
                    </a:lnTo>
                    <a:lnTo>
                      <a:pt x="315" y="147"/>
                    </a:lnTo>
                    <a:lnTo>
                      <a:pt x="315" y="147"/>
                    </a:lnTo>
                    <a:lnTo>
                      <a:pt x="312" y="147"/>
                    </a:lnTo>
                    <a:lnTo>
                      <a:pt x="305" y="149"/>
                    </a:lnTo>
                    <a:lnTo>
                      <a:pt x="299" y="153"/>
                    </a:lnTo>
                    <a:lnTo>
                      <a:pt x="297" y="156"/>
                    </a:lnTo>
                    <a:lnTo>
                      <a:pt x="294" y="163"/>
                    </a:lnTo>
                    <a:lnTo>
                      <a:pt x="291" y="165"/>
                    </a:lnTo>
                    <a:lnTo>
                      <a:pt x="290" y="167"/>
                    </a:lnTo>
                    <a:lnTo>
                      <a:pt x="287" y="165"/>
                    </a:lnTo>
                    <a:lnTo>
                      <a:pt x="284" y="165"/>
                    </a:lnTo>
                    <a:lnTo>
                      <a:pt x="283" y="165"/>
                    </a:lnTo>
                    <a:lnTo>
                      <a:pt x="281" y="167"/>
                    </a:lnTo>
                    <a:lnTo>
                      <a:pt x="279" y="167"/>
                    </a:lnTo>
                    <a:lnTo>
                      <a:pt x="277" y="167"/>
                    </a:lnTo>
                    <a:lnTo>
                      <a:pt x="272" y="167"/>
                    </a:lnTo>
                    <a:lnTo>
                      <a:pt x="270" y="167"/>
                    </a:lnTo>
                    <a:lnTo>
                      <a:pt x="267" y="168"/>
                    </a:lnTo>
                    <a:lnTo>
                      <a:pt x="265" y="167"/>
                    </a:lnTo>
                    <a:lnTo>
                      <a:pt x="260" y="167"/>
                    </a:lnTo>
                    <a:lnTo>
                      <a:pt x="249" y="167"/>
                    </a:lnTo>
                    <a:lnTo>
                      <a:pt x="249" y="168"/>
                    </a:lnTo>
                    <a:lnTo>
                      <a:pt x="248" y="170"/>
                    </a:lnTo>
                    <a:lnTo>
                      <a:pt x="244" y="172"/>
                    </a:lnTo>
                    <a:lnTo>
                      <a:pt x="240" y="172"/>
                    </a:lnTo>
                    <a:lnTo>
                      <a:pt x="235" y="174"/>
                    </a:lnTo>
                    <a:lnTo>
                      <a:pt x="234" y="175"/>
                    </a:lnTo>
                    <a:lnTo>
                      <a:pt x="233" y="178"/>
                    </a:lnTo>
                    <a:lnTo>
                      <a:pt x="233" y="181"/>
                    </a:lnTo>
                    <a:lnTo>
                      <a:pt x="231" y="181"/>
                    </a:lnTo>
                    <a:lnTo>
                      <a:pt x="231" y="179"/>
                    </a:lnTo>
                    <a:lnTo>
                      <a:pt x="230" y="181"/>
                    </a:lnTo>
                    <a:lnTo>
                      <a:pt x="230" y="182"/>
                    </a:lnTo>
                    <a:lnTo>
                      <a:pt x="228" y="182"/>
                    </a:lnTo>
                    <a:lnTo>
                      <a:pt x="227" y="184"/>
                    </a:lnTo>
                    <a:lnTo>
                      <a:pt x="224" y="182"/>
                    </a:lnTo>
                    <a:lnTo>
                      <a:pt x="221" y="179"/>
                    </a:lnTo>
                    <a:lnTo>
                      <a:pt x="220" y="179"/>
                    </a:lnTo>
                    <a:lnTo>
                      <a:pt x="217" y="177"/>
                    </a:lnTo>
                    <a:lnTo>
                      <a:pt x="216" y="174"/>
                    </a:lnTo>
                    <a:lnTo>
                      <a:pt x="216" y="171"/>
                    </a:lnTo>
                    <a:lnTo>
                      <a:pt x="216" y="171"/>
                    </a:lnTo>
                    <a:lnTo>
                      <a:pt x="216" y="170"/>
                    </a:lnTo>
                    <a:lnTo>
                      <a:pt x="213" y="170"/>
                    </a:lnTo>
                    <a:lnTo>
                      <a:pt x="213" y="167"/>
                    </a:lnTo>
                    <a:lnTo>
                      <a:pt x="214" y="164"/>
                    </a:lnTo>
                    <a:lnTo>
                      <a:pt x="216" y="163"/>
                    </a:lnTo>
                    <a:lnTo>
                      <a:pt x="216" y="163"/>
                    </a:lnTo>
                    <a:lnTo>
                      <a:pt x="214" y="163"/>
                    </a:lnTo>
                    <a:lnTo>
                      <a:pt x="213" y="165"/>
                    </a:lnTo>
                    <a:lnTo>
                      <a:pt x="212" y="163"/>
                    </a:lnTo>
                    <a:lnTo>
                      <a:pt x="205" y="157"/>
                    </a:lnTo>
                    <a:lnTo>
                      <a:pt x="205" y="156"/>
                    </a:lnTo>
                    <a:lnTo>
                      <a:pt x="205" y="154"/>
                    </a:lnTo>
                    <a:lnTo>
                      <a:pt x="203" y="156"/>
                    </a:lnTo>
                    <a:lnTo>
                      <a:pt x="203" y="157"/>
                    </a:lnTo>
                    <a:lnTo>
                      <a:pt x="199" y="156"/>
                    </a:lnTo>
                    <a:lnTo>
                      <a:pt x="195" y="157"/>
                    </a:lnTo>
                    <a:lnTo>
                      <a:pt x="194" y="152"/>
                    </a:lnTo>
                    <a:lnTo>
                      <a:pt x="194" y="149"/>
                    </a:lnTo>
                    <a:lnTo>
                      <a:pt x="194" y="147"/>
                    </a:lnTo>
                    <a:lnTo>
                      <a:pt x="194" y="145"/>
                    </a:lnTo>
                    <a:lnTo>
                      <a:pt x="195" y="143"/>
                    </a:lnTo>
                    <a:lnTo>
                      <a:pt x="196" y="140"/>
                    </a:lnTo>
                    <a:lnTo>
                      <a:pt x="199" y="138"/>
                    </a:lnTo>
                    <a:lnTo>
                      <a:pt x="201" y="138"/>
                    </a:lnTo>
                    <a:lnTo>
                      <a:pt x="202" y="138"/>
                    </a:lnTo>
                    <a:lnTo>
                      <a:pt x="202" y="135"/>
                    </a:lnTo>
                    <a:lnTo>
                      <a:pt x="203" y="133"/>
                    </a:lnTo>
                    <a:lnTo>
                      <a:pt x="203" y="133"/>
                    </a:lnTo>
                    <a:lnTo>
                      <a:pt x="201" y="133"/>
                    </a:lnTo>
                    <a:lnTo>
                      <a:pt x="196" y="128"/>
                    </a:lnTo>
                    <a:lnTo>
                      <a:pt x="196" y="126"/>
                    </a:lnTo>
                    <a:lnTo>
                      <a:pt x="196" y="125"/>
                    </a:lnTo>
                    <a:lnTo>
                      <a:pt x="196" y="124"/>
                    </a:lnTo>
                    <a:lnTo>
                      <a:pt x="198" y="122"/>
                    </a:lnTo>
                    <a:lnTo>
                      <a:pt x="198" y="121"/>
                    </a:lnTo>
                    <a:lnTo>
                      <a:pt x="201" y="119"/>
                    </a:lnTo>
                    <a:lnTo>
                      <a:pt x="202" y="117"/>
                    </a:lnTo>
                    <a:lnTo>
                      <a:pt x="202" y="115"/>
                    </a:lnTo>
                    <a:lnTo>
                      <a:pt x="202" y="114"/>
                    </a:lnTo>
                    <a:lnTo>
                      <a:pt x="202" y="113"/>
                    </a:lnTo>
                    <a:lnTo>
                      <a:pt x="199" y="113"/>
                    </a:lnTo>
                    <a:lnTo>
                      <a:pt x="196" y="107"/>
                    </a:lnTo>
                    <a:lnTo>
                      <a:pt x="196" y="104"/>
                    </a:lnTo>
                    <a:lnTo>
                      <a:pt x="195" y="104"/>
                    </a:lnTo>
                    <a:lnTo>
                      <a:pt x="194" y="103"/>
                    </a:lnTo>
                    <a:lnTo>
                      <a:pt x="192" y="100"/>
                    </a:lnTo>
                    <a:lnTo>
                      <a:pt x="192" y="100"/>
                    </a:lnTo>
                    <a:lnTo>
                      <a:pt x="194" y="99"/>
                    </a:lnTo>
                    <a:lnTo>
                      <a:pt x="201" y="99"/>
                    </a:lnTo>
                    <a:lnTo>
                      <a:pt x="202" y="99"/>
                    </a:lnTo>
                    <a:lnTo>
                      <a:pt x="202" y="99"/>
                    </a:lnTo>
                    <a:lnTo>
                      <a:pt x="203" y="96"/>
                    </a:lnTo>
                    <a:lnTo>
                      <a:pt x="203" y="93"/>
                    </a:lnTo>
                    <a:lnTo>
                      <a:pt x="205" y="92"/>
                    </a:lnTo>
                    <a:lnTo>
                      <a:pt x="203" y="90"/>
                    </a:lnTo>
                    <a:lnTo>
                      <a:pt x="202" y="89"/>
                    </a:lnTo>
                    <a:lnTo>
                      <a:pt x="202" y="87"/>
                    </a:lnTo>
                    <a:lnTo>
                      <a:pt x="202" y="87"/>
                    </a:lnTo>
                    <a:lnTo>
                      <a:pt x="203" y="86"/>
                    </a:lnTo>
                    <a:lnTo>
                      <a:pt x="205" y="85"/>
                    </a:lnTo>
                    <a:lnTo>
                      <a:pt x="206" y="83"/>
                    </a:lnTo>
                    <a:lnTo>
                      <a:pt x="206" y="83"/>
                    </a:lnTo>
                    <a:lnTo>
                      <a:pt x="205" y="82"/>
                    </a:lnTo>
                    <a:lnTo>
                      <a:pt x="205" y="82"/>
                    </a:lnTo>
                    <a:lnTo>
                      <a:pt x="205" y="80"/>
                    </a:lnTo>
                    <a:lnTo>
                      <a:pt x="205" y="78"/>
                    </a:lnTo>
                    <a:lnTo>
                      <a:pt x="206" y="76"/>
                    </a:lnTo>
                    <a:lnTo>
                      <a:pt x="205" y="73"/>
                    </a:lnTo>
                    <a:lnTo>
                      <a:pt x="205" y="71"/>
                    </a:lnTo>
                    <a:lnTo>
                      <a:pt x="203" y="68"/>
                    </a:lnTo>
                    <a:lnTo>
                      <a:pt x="203" y="67"/>
                    </a:lnTo>
                    <a:lnTo>
                      <a:pt x="205" y="67"/>
                    </a:lnTo>
                    <a:lnTo>
                      <a:pt x="206" y="65"/>
                    </a:lnTo>
                    <a:lnTo>
                      <a:pt x="208" y="62"/>
                    </a:lnTo>
                    <a:lnTo>
                      <a:pt x="210" y="61"/>
                    </a:lnTo>
                    <a:lnTo>
                      <a:pt x="213" y="60"/>
                    </a:lnTo>
                    <a:lnTo>
                      <a:pt x="214" y="57"/>
                    </a:lnTo>
                    <a:lnTo>
                      <a:pt x="216" y="55"/>
                    </a:lnTo>
                    <a:lnTo>
                      <a:pt x="216" y="55"/>
                    </a:lnTo>
                    <a:lnTo>
                      <a:pt x="216" y="54"/>
                    </a:lnTo>
                    <a:lnTo>
                      <a:pt x="216" y="54"/>
                    </a:lnTo>
                    <a:lnTo>
                      <a:pt x="214" y="53"/>
                    </a:lnTo>
                    <a:lnTo>
                      <a:pt x="213" y="53"/>
                    </a:lnTo>
                    <a:lnTo>
                      <a:pt x="212" y="53"/>
                    </a:lnTo>
                    <a:lnTo>
                      <a:pt x="210" y="51"/>
                    </a:lnTo>
                    <a:lnTo>
                      <a:pt x="210" y="51"/>
                    </a:lnTo>
                    <a:lnTo>
                      <a:pt x="210" y="48"/>
                    </a:lnTo>
                    <a:lnTo>
                      <a:pt x="210" y="47"/>
                    </a:lnTo>
                    <a:lnTo>
                      <a:pt x="210" y="46"/>
                    </a:lnTo>
                    <a:lnTo>
                      <a:pt x="209" y="46"/>
                    </a:lnTo>
                    <a:lnTo>
                      <a:pt x="208" y="46"/>
                    </a:lnTo>
                    <a:lnTo>
                      <a:pt x="206" y="44"/>
                    </a:lnTo>
                    <a:lnTo>
                      <a:pt x="205" y="44"/>
                    </a:lnTo>
                    <a:lnTo>
                      <a:pt x="205" y="46"/>
                    </a:lnTo>
                    <a:lnTo>
                      <a:pt x="202" y="46"/>
                    </a:lnTo>
                    <a:lnTo>
                      <a:pt x="201" y="44"/>
                    </a:lnTo>
                    <a:lnTo>
                      <a:pt x="199" y="44"/>
                    </a:lnTo>
                    <a:lnTo>
                      <a:pt x="199" y="44"/>
                    </a:lnTo>
                    <a:lnTo>
                      <a:pt x="199" y="44"/>
                    </a:lnTo>
                    <a:lnTo>
                      <a:pt x="199" y="46"/>
                    </a:lnTo>
                    <a:lnTo>
                      <a:pt x="198" y="47"/>
                    </a:lnTo>
                    <a:lnTo>
                      <a:pt x="198" y="47"/>
                    </a:lnTo>
                    <a:lnTo>
                      <a:pt x="195" y="48"/>
                    </a:lnTo>
                    <a:lnTo>
                      <a:pt x="192" y="48"/>
                    </a:lnTo>
                    <a:lnTo>
                      <a:pt x="191" y="47"/>
                    </a:lnTo>
                    <a:lnTo>
                      <a:pt x="191" y="47"/>
                    </a:lnTo>
                    <a:lnTo>
                      <a:pt x="189" y="47"/>
                    </a:lnTo>
                    <a:lnTo>
                      <a:pt x="185" y="47"/>
                    </a:lnTo>
                    <a:lnTo>
                      <a:pt x="185" y="47"/>
                    </a:lnTo>
                    <a:lnTo>
                      <a:pt x="184" y="47"/>
                    </a:lnTo>
                    <a:lnTo>
                      <a:pt x="182" y="48"/>
                    </a:lnTo>
                    <a:lnTo>
                      <a:pt x="181" y="48"/>
                    </a:lnTo>
                    <a:lnTo>
                      <a:pt x="181" y="48"/>
                    </a:lnTo>
                    <a:lnTo>
                      <a:pt x="181" y="48"/>
                    </a:lnTo>
                    <a:lnTo>
                      <a:pt x="180" y="46"/>
                    </a:lnTo>
                    <a:lnTo>
                      <a:pt x="180" y="46"/>
                    </a:lnTo>
                    <a:lnTo>
                      <a:pt x="181" y="43"/>
                    </a:lnTo>
                    <a:lnTo>
                      <a:pt x="181" y="43"/>
                    </a:lnTo>
                    <a:lnTo>
                      <a:pt x="181" y="41"/>
                    </a:lnTo>
                    <a:lnTo>
                      <a:pt x="180" y="41"/>
                    </a:lnTo>
                    <a:lnTo>
                      <a:pt x="180" y="40"/>
                    </a:lnTo>
                    <a:lnTo>
                      <a:pt x="180" y="40"/>
                    </a:lnTo>
                    <a:lnTo>
                      <a:pt x="178" y="41"/>
                    </a:lnTo>
                    <a:lnTo>
                      <a:pt x="174" y="41"/>
                    </a:lnTo>
                    <a:lnTo>
                      <a:pt x="173" y="43"/>
                    </a:lnTo>
                    <a:lnTo>
                      <a:pt x="171" y="44"/>
                    </a:lnTo>
                    <a:lnTo>
                      <a:pt x="170" y="46"/>
                    </a:lnTo>
                    <a:lnTo>
                      <a:pt x="169" y="46"/>
                    </a:lnTo>
                    <a:lnTo>
                      <a:pt x="169" y="46"/>
                    </a:lnTo>
                    <a:lnTo>
                      <a:pt x="169" y="41"/>
                    </a:lnTo>
                    <a:lnTo>
                      <a:pt x="170" y="39"/>
                    </a:lnTo>
                    <a:lnTo>
                      <a:pt x="171" y="37"/>
                    </a:lnTo>
                    <a:lnTo>
                      <a:pt x="171" y="37"/>
                    </a:lnTo>
                    <a:lnTo>
                      <a:pt x="169" y="37"/>
                    </a:lnTo>
                    <a:lnTo>
                      <a:pt x="170" y="36"/>
                    </a:lnTo>
                    <a:lnTo>
                      <a:pt x="170" y="34"/>
                    </a:lnTo>
                    <a:lnTo>
                      <a:pt x="171" y="33"/>
                    </a:lnTo>
                    <a:lnTo>
                      <a:pt x="170" y="33"/>
                    </a:lnTo>
                    <a:lnTo>
                      <a:pt x="170" y="32"/>
                    </a:lnTo>
                    <a:lnTo>
                      <a:pt x="170" y="30"/>
                    </a:lnTo>
                    <a:lnTo>
                      <a:pt x="170" y="29"/>
                    </a:lnTo>
                    <a:lnTo>
                      <a:pt x="170" y="28"/>
                    </a:lnTo>
                    <a:lnTo>
                      <a:pt x="166" y="29"/>
                    </a:lnTo>
                    <a:lnTo>
                      <a:pt x="166" y="29"/>
                    </a:lnTo>
                    <a:lnTo>
                      <a:pt x="166" y="28"/>
                    </a:lnTo>
                    <a:lnTo>
                      <a:pt x="167" y="25"/>
                    </a:lnTo>
                    <a:lnTo>
                      <a:pt x="167" y="25"/>
                    </a:lnTo>
                    <a:lnTo>
                      <a:pt x="166" y="23"/>
                    </a:lnTo>
                    <a:lnTo>
                      <a:pt x="163" y="22"/>
                    </a:lnTo>
                    <a:lnTo>
                      <a:pt x="163" y="22"/>
                    </a:lnTo>
                    <a:lnTo>
                      <a:pt x="162" y="19"/>
                    </a:lnTo>
                    <a:lnTo>
                      <a:pt x="162" y="18"/>
                    </a:lnTo>
                    <a:lnTo>
                      <a:pt x="163" y="15"/>
                    </a:lnTo>
                    <a:lnTo>
                      <a:pt x="164" y="14"/>
                    </a:lnTo>
                    <a:lnTo>
                      <a:pt x="166" y="14"/>
                    </a:lnTo>
                    <a:lnTo>
                      <a:pt x="169" y="11"/>
                    </a:lnTo>
                    <a:lnTo>
                      <a:pt x="171" y="11"/>
                    </a:lnTo>
                    <a:lnTo>
                      <a:pt x="174" y="11"/>
                    </a:lnTo>
                    <a:lnTo>
                      <a:pt x="177" y="9"/>
                    </a:lnTo>
                    <a:lnTo>
                      <a:pt x="178" y="9"/>
                    </a:lnTo>
                    <a:lnTo>
                      <a:pt x="180" y="8"/>
                    </a:lnTo>
                    <a:lnTo>
                      <a:pt x="180" y="7"/>
                    </a:lnTo>
                    <a:lnTo>
                      <a:pt x="178" y="5"/>
                    </a:lnTo>
                    <a:lnTo>
                      <a:pt x="180" y="5"/>
                    </a:lnTo>
                    <a:lnTo>
                      <a:pt x="181" y="4"/>
                    </a:lnTo>
                    <a:lnTo>
                      <a:pt x="184" y="2"/>
                    </a:lnTo>
                    <a:lnTo>
                      <a:pt x="187" y="1"/>
                    </a:lnTo>
                    <a:lnTo>
                      <a:pt x="189" y="0"/>
                    </a:lnTo>
                    <a:lnTo>
                      <a:pt x="191" y="1"/>
                    </a:lnTo>
                    <a:lnTo>
                      <a:pt x="194" y="1"/>
                    </a:lnTo>
                    <a:lnTo>
                      <a:pt x="195" y="2"/>
                    </a:lnTo>
                    <a:lnTo>
                      <a:pt x="198" y="4"/>
                    </a:lnTo>
                    <a:lnTo>
                      <a:pt x="201" y="5"/>
                    </a:lnTo>
                    <a:lnTo>
                      <a:pt x="203" y="5"/>
                    </a:lnTo>
                    <a:lnTo>
                      <a:pt x="209" y="4"/>
                    </a:lnTo>
                    <a:lnTo>
                      <a:pt x="212" y="5"/>
                    </a:lnTo>
                    <a:lnTo>
                      <a:pt x="216" y="4"/>
                    </a:lnTo>
                    <a:lnTo>
                      <a:pt x="219" y="4"/>
                    </a:lnTo>
                    <a:lnTo>
                      <a:pt x="223" y="4"/>
                    </a:lnTo>
                    <a:lnTo>
                      <a:pt x="227" y="5"/>
                    </a:lnTo>
                    <a:lnTo>
                      <a:pt x="233" y="5"/>
                    </a:lnTo>
                    <a:lnTo>
                      <a:pt x="237" y="7"/>
                    </a:lnTo>
                    <a:lnTo>
                      <a:pt x="247" y="9"/>
                    </a:lnTo>
                    <a:lnTo>
                      <a:pt x="251" y="9"/>
                    </a:lnTo>
                    <a:lnTo>
                      <a:pt x="256" y="8"/>
                    </a:lnTo>
                    <a:lnTo>
                      <a:pt x="259" y="7"/>
                    </a:lnTo>
                    <a:lnTo>
                      <a:pt x="260" y="8"/>
                    </a:lnTo>
                    <a:lnTo>
                      <a:pt x="263" y="7"/>
                    </a:lnTo>
                    <a:lnTo>
                      <a:pt x="265" y="7"/>
                    </a:lnTo>
                    <a:lnTo>
                      <a:pt x="267" y="8"/>
                    </a:lnTo>
                    <a:lnTo>
                      <a:pt x="274" y="9"/>
                    </a:lnTo>
                    <a:lnTo>
                      <a:pt x="276" y="8"/>
                    </a:lnTo>
                    <a:lnTo>
                      <a:pt x="277" y="8"/>
                    </a:lnTo>
                    <a:lnTo>
                      <a:pt x="281" y="9"/>
                    </a:lnTo>
                    <a:lnTo>
                      <a:pt x="287" y="11"/>
                    </a:lnTo>
                    <a:lnTo>
                      <a:pt x="290" y="11"/>
                    </a:lnTo>
                    <a:lnTo>
                      <a:pt x="292" y="11"/>
                    </a:lnTo>
                    <a:lnTo>
                      <a:pt x="297" y="9"/>
                    </a:lnTo>
                    <a:lnTo>
                      <a:pt x="297" y="9"/>
                    </a:lnTo>
                    <a:close/>
                    <a:moveTo>
                      <a:pt x="407" y="96"/>
                    </a:moveTo>
                    <a:lnTo>
                      <a:pt x="407" y="96"/>
                    </a:lnTo>
                    <a:lnTo>
                      <a:pt x="401" y="93"/>
                    </a:lnTo>
                    <a:lnTo>
                      <a:pt x="400" y="93"/>
                    </a:lnTo>
                    <a:lnTo>
                      <a:pt x="398" y="92"/>
                    </a:lnTo>
                    <a:lnTo>
                      <a:pt x="400" y="90"/>
                    </a:lnTo>
                    <a:lnTo>
                      <a:pt x="400" y="90"/>
                    </a:lnTo>
                    <a:lnTo>
                      <a:pt x="403" y="90"/>
                    </a:lnTo>
                    <a:lnTo>
                      <a:pt x="405" y="90"/>
                    </a:lnTo>
                    <a:lnTo>
                      <a:pt x="408" y="93"/>
                    </a:lnTo>
                    <a:lnTo>
                      <a:pt x="408" y="94"/>
                    </a:lnTo>
                    <a:lnTo>
                      <a:pt x="407" y="96"/>
                    </a:lnTo>
                    <a:close/>
                    <a:moveTo>
                      <a:pt x="386" y="97"/>
                    </a:moveTo>
                    <a:lnTo>
                      <a:pt x="389" y="97"/>
                    </a:lnTo>
                    <a:lnTo>
                      <a:pt x="390" y="97"/>
                    </a:lnTo>
                    <a:lnTo>
                      <a:pt x="391" y="97"/>
                    </a:lnTo>
                    <a:lnTo>
                      <a:pt x="391" y="97"/>
                    </a:lnTo>
                    <a:lnTo>
                      <a:pt x="393" y="99"/>
                    </a:lnTo>
                    <a:lnTo>
                      <a:pt x="391" y="100"/>
                    </a:lnTo>
                    <a:lnTo>
                      <a:pt x="390" y="103"/>
                    </a:lnTo>
                    <a:lnTo>
                      <a:pt x="389" y="104"/>
                    </a:lnTo>
                    <a:lnTo>
                      <a:pt x="389" y="106"/>
                    </a:lnTo>
                    <a:lnTo>
                      <a:pt x="387" y="107"/>
                    </a:lnTo>
                    <a:lnTo>
                      <a:pt x="384" y="108"/>
                    </a:lnTo>
                    <a:lnTo>
                      <a:pt x="382" y="107"/>
                    </a:lnTo>
                    <a:lnTo>
                      <a:pt x="380" y="106"/>
                    </a:lnTo>
                    <a:lnTo>
                      <a:pt x="379" y="106"/>
                    </a:lnTo>
                    <a:lnTo>
                      <a:pt x="379" y="103"/>
                    </a:lnTo>
                    <a:lnTo>
                      <a:pt x="379" y="103"/>
                    </a:lnTo>
                    <a:lnTo>
                      <a:pt x="377" y="103"/>
                    </a:lnTo>
                    <a:lnTo>
                      <a:pt x="376" y="103"/>
                    </a:lnTo>
                    <a:lnTo>
                      <a:pt x="375" y="104"/>
                    </a:lnTo>
                    <a:lnTo>
                      <a:pt x="373" y="103"/>
                    </a:lnTo>
                    <a:lnTo>
                      <a:pt x="373" y="103"/>
                    </a:lnTo>
                    <a:lnTo>
                      <a:pt x="372" y="101"/>
                    </a:lnTo>
                    <a:lnTo>
                      <a:pt x="372" y="101"/>
                    </a:lnTo>
                    <a:lnTo>
                      <a:pt x="380" y="94"/>
                    </a:lnTo>
                    <a:lnTo>
                      <a:pt x="382" y="94"/>
                    </a:lnTo>
                    <a:lnTo>
                      <a:pt x="387" y="93"/>
                    </a:lnTo>
                    <a:lnTo>
                      <a:pt x="387" y="93"/>
                    </a:lnTo>
                    <a:lnTo>
                      <a:pt x="387" y="93"/>
                    </a:lnTo>
                    <a:lnTo>
                      <a:pt x="387" y="94"/>
                    </a:lnTo>
                    <a:lnTo>
                      <a:pt x="387" y="94"/>
                    </a:lnTo>
                    <a:lnTo>
                      <a:pt x="387" y="94"/>
                    </a:lnTo>
                    <a:lnTo>
                      <a:pt x="387" y="96"/>
                    </a:lnTo>
                    <a:lnTo>
                      <a:pt x="386" y="97"/>
                    </a:lnTo>
                    <a:close/>
                    <a:moveTo>
                      <a:pt x="355" y="117"/>
                    </a:moveTo>
                    <a:lnTo>
                      <a:pt x="355" y="118"/>
                    </a:lnTo>
                    <a:lnTo>
                      <a:pt x="352" y="118"/>
                    </a:lnTo>
                    <a:lnTo>
                      <a:pt x="351" y="117"/>
                    </a:lnTo>
                    <a:lnTo>
                      <a:pt x="352" y="115"/>
                    </a:lnTo>
                    <a:lnTo>
                      <a:pt x="352" y="115"/>
                    </a:lnTo>
                    <a:lnTo>
                      <a:pt x="352" y="114"/>
                    </a:lnTo>
                    <a:lnTo>
                      <a:pt x="354" y="113"/>
                    </a:lnTo>
                    <a:lnTo>
                      <a:pt x="358" y="113"/>
                    </a:lnTo>
                    <a:lnTo>
                      <a:pt x="358" y="113"/>
                    </a:lnTo>
                    <a:lnTo>
                      <a:pt x="359" y="114"/>
                    </a:lnTo>
                    <a:lnTo>
                      <a:pt x="357" y="117"/>
                    </a:lnTo>
                    <a:lnTo>
                      <a:pt x="355" y="117"/>
                    </a:lnTo>
                    <a:close/>
                    <a:moveTo>
                      <a:pt x="358" y="122"/>
                    </a:moveTo>
                    <a:lnTo>
                      <a:pt x="358" y="124"/>
                    </a:lnTo>
                    <a:lnTo>
                      <a:pt x="357" y="122"/>
                    </a:lnTo>
                    <a:lnTo>
                      <a:pt x="355" y="122"/>
                    </a:lnTo>
                    <a:lnTo>
                      <a:pt x="355" y="122"/>
                    </a:lnTo>
                    <a:lnTo>
                      <a:pt x="355" y="121"/>
                    </a:lnTo>
                    <a:lnTo>
                      <a:pt x="355" y="121"/>
                    </a:lnTo>
                    <a:lnTo>
                      <a:pt x="357" y="122"/>
                    </a:lnTo>
                    <a:lnTo>
                      <a:pt x="358" y="122"/>
                    </a:lnTo>
                    <a:lnTo>
                      <a:pt x="358" y="122"/>
                    </a:lnTo>
                    <a:close/>
                    <a:moveTo>
                      <a:pt x="81" y="335"/>
                    </a:moveTo>
                    <a:lnTo>
                      <a:pt x="79" y="337"/>
                    </a:lnTo>
                    <a:lnTo>
                      <a:pt x="78" y="337"/>
                    </a:lnTo>
                    <a:lnTo>
                      <a:pt x="78" y="334"/>
                    </a:lnTo>
                    <a:lnTo>
                      <a:pt x="79" y="333"/>
                    </a:lnTo>
                    <a:lnTo>
                      <a:pt x="81" y="331"/>
                    </a:lnTo>
                    <a:lnTo>
                      <a:pt x="84" y="331"/>
                    </a:lnTo>
                    <a:lnTo>
                      <a:pt x="84" y="330"/>
                    </a:lnTo>
                    <a:lnTo>
                      <a:pt x="85" y="329"/>
                    </a:lnTo>
                    <a:lnTo>
                      <a:pt x="85" y="330"/>
                    </a:lnTo>
                    <a:lnTo>
                      <a:pt x="85" y="331"/>
                    </a:lnTo>
                    <a:lnTo>
                      <a:pt x="85" y="334"/>
                    </a:lnTo>
                    <a:lnTo>
                      <a:pt x="84" y="334"/>
                    </a:lnTo>
                    <a:lnTo>
                      <a:pt x="81" y="335"/>
                    </a:lnTo>
                    <a:close/>
                    <a:moveTo>
                      <a:pt x="6" y="344"/>
                    </a:moveTo>
                    <a:lnTo>
                      <a:pt x="6" y="344"/>
                    </a:lnTo>
                    <a:lnTo>
                      <a:pt x="4" y="342"/>
                    </a:lnTo>
                    <a:lnTo>
                      <a:pt x="3" y="338"/>
                    </a:lnTo>
                    <a:lnTo>
                      <a:pt x="4" y="337"/>
                    </a:lnTo>
                    <a:lnTo>
                      <a:pt x="6" y="337"/>
                    </a:lnTo>
                    <a:lnTo>
                      <a:pt x="7" y="338"/>
                    </a:lnTo>
                    <a:lnTo>
                      <a:pt x="7" y="340"/>
                    </a:lnTo>
                    <a:lnTo>
                      <a:pt x="7" y="340"/>
                    </a:lnTo>
                    <a:lnTo>
                      <a:pt x="7" y="341"/>
                    </a:lnTo>
                    <a:lnTo>
                      <a:pt x="7" y="342"/>
                    </a:lnTo>
                    <a:lnTo>
                      <a:pt x="6" y="344"/>
                    </a:lnTo>
                    <a:close/>
                    <a:moveTo>
                      <a:pt x="71" y="351"/>
                    </a:moveTo>
                    <a:lnTo>
                      <a:pt x="70" y="354"/>
                    </a:lnTo>
                    <a:lnTo>
                      <a:pt x="67" y="352"/>
                    </a:lnTo>
                    <a:lnTo>
                      <a:pt x="65" y="352"/>
                    </a:lnTo>
                    <a:lnTo>
                      <a:pt x="68" y="352"/>
                    </a:lnTo>
                    <a:lnTo>
                      <a:pt x="71" y="349"/>
                    </a:lnTo>
                    <a:lnTo>
                      <a:pt x="72" y="347"/>
                    </a:lnTo>
                    <a:lnTo>
                      <a:pt x="75" y="341"/>
                    </a:lnTo>
                    <a:lnTo>
                      <a:pt x="75" y="340"/>
                    </a:lnTo>
                    <a:lnTo>
                      <a:pt x="75" y="340"/>
                    </a:lnTo>
                    <a:lnTo>
                      <a:pt x="77" y="340"/>
                    </a:lnTo>
                    <a:lnTo>
                      <a:pt x="78" y="340"/>
                    </a:lnTo>
                    <a:lnTo>
                      <a:pt x="78" y="340"/>
                    </a:lnTo>
                    <a:lnTo>
                      <a:pt x="78" y="342"/>
                    </a:lnTo>
                    <a:lnTo>
                      <a:pt x="78" y="345"/>
                    </a:lnTo>
                    <a:lnTo>
                      <a:pt x="77" y="349"/>
                    </a:lnTo>
                    <a:lnTo>
                      <a:pt x="71" y="351"/>
                    </a:lnTo>
                    <a:close/>
                    <a:moveTo>
                      <a:pt x="32" y="347"/>
                    </a:moveTo>
                    <a:lnTo>
                      <a:pt x="31" y="351"/>
                    </a:lnTo>
                    <a:lnTo>
                      <a:pt x="29" y="354"/>
                    </a:lnTo>
                    <a:lnTo>
                      <a:pt x="29" y="354"/>
                    </a:lnTo>
                    <a:lnTo>
                      <a:pt x="26" y="354"/>
                    </a:lnTo>
                    <a:lnTo>
                      <a:pt x="24" y="351"/>
                    </a:lnTo>
                    <a:lnTo>
                      <a:pt x="24" y="348"/>
                    </a:lnTo>
                    <a:lnTo>
                      <a:pt x="22" y="348"/>
                    </a:lnTo>
                    <a:lnTo>
                      <a:pt x="24" y="347"/>
                    </a:lnTo>
                    <a:lnTo>
                      <a:pt x="25" y="347"/>
                    </a:lnTo>
                    <a:lnTo>
                      <a:pt x="29" y="347"/>
                    </a:lnTo>
                    <a:lnTo>
                      <a:pt x="29" y="345"/>
                    </a:lnTo>
                    <a:lnTo>
                      <a:pt x="33" y="342"/>
                    </a:lnTo>
                    <a:lnTo>
                      <a:pt x="36" y="342"/>
                    </a:lnTo>
                    <a:lnTo>
                      <a:pt x="36" y="344"/>
                    </a:lnTo>
                    <a:lnTo>
                      <a:pt x="32" y="347"/>
                    </a:lnTo>
                    <a:close/>
                    <a:moveTo>
                      <a:pt x="17" y="354"/>
                    </a:moveTo>
                    <a:lnTo>
                      <a:pt x="17" y="354"/>
                    </a:lnTo>
                    <a:lnTo>
                      <a:pt x="15" y="354"/>
                    </a:lnTo>
                    <a:lnTo>
                      <a:pt x="15" y="352"/>
                    </a:lnTo>
                    <a:lnTo>
                      <a:pt x="15" y="351"/>
                    </a:lnTo>
                    <a:lnTo>
                      <a:pt x="15" y="351"/>
                    </a:lnTo>
                    <a:lnTo>
                      <a:pt x="17" y="351"/>
                    </a:lnTo>
                    <a:lnTo>
                      <a:pt x="18" y="351"/>
                    </a:lnTo>
                    <a:lnTo>
                      <a:pt x="18" y="352"/>
                    </a:lnTo>
                    <a:lnTo>
                      <a:pt x="18" y="352"/>
                    </a:lnTo>
                    <a:lnTo>
                      <a:pt x="17" y="354"/>
                    </a:lnTo>
                    <a:close/>
                    <a:moveTo>
                      <a:pt x="50" y="351"/>
                    </a:moveTo>
                    <a:lnTo>
                      <a:pt x="50" y="352"/>
                    </a:lnTo>
                    <a:lnTo>
                      <a:pt x="50" y="355"/>
                    </a:lnTo>
                    <a:lnTo>
                      <a:pt x="50" y="356"/>
                    </a:lnTo>
                    <a:lnTo>
                      <a:pt x="49" y="358"/>
                    </a:lnTo>
                    <a:lnTo>
                      <a:pt x="47" y="359"/>
                    </a:lnTo>
                    <a:lnTo>
                      <a:pt x="45" y="359"/>
                    </a:lnTo>
                    <a:lnTo>
                      <a:pt x="45" y="359"/>
                    </a:lnTo>
                    <a:lnTo>
                      <a:pt x="42" y="356"/>
                    </a:lnTo>
                    <a:lnTo>
                      <a:pt x="42" y="355"/>
                    </a:lnTo>
                    <a:lnTo>
                      <a:pt x="43" y="354"/>
                    </a:lnTo>
                    <a:lnTo>
                      <a:pt x="45" y="351"/>
                    </a:lnTo>
                    <a:lnTo>
                      <a:pt x="49" y="351"/>
                    </a:lnTo>
                    <a:lnTo>
                      <a:pt x="49" y="351"/>
                    </a:lnTo>
                    <a:lnTo>
                      <a:pt x="49" y="351"/>
                    </a:lnTo>
                    <a:lnTo>
                      <a:pt x="50" y="351"/>
                    </a:lnTo>
                    <a:close/>
                    <a:moveTo>
                      <a:pt x="4" y="358"/>
                    </a:moveTo>
                    <a:lnTo>
                      <a:pt x="3" y="362"/>
                    </a:lnTo>
                    <a:lnTo>
                      <a:pt x="0" y="361"/>
                    </a:lnTo>
                    <a:lnTo>
                      <a:pt x="0" y="361"/>
                    </a:lnTo>
                    <a:lnTo>
                      <a:pt x="0" y="359"/>
                    </a:lnTo>
                    <a:lnTo>
                      <a:pt x="1" y="359"/>
                    </a:lnTo>
                    <a:lnTo>
                      <a:pt x="4" y="358"/>
                    </a:lnTo>
                    <a:lnTo>
                      <a:pt x="4" y="358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53" name="Finland">
                <a:extLst>
                  <a:ext uri="{FF2B5EF4-FFF2-40B4-BE49-F238E27FC236}">
                    <a16:creationId xmlns:a16="http://schemas.microsoft.com/office/drawing/2014/main" id="{EF6629A6-EC82-E663-C6BF-AFE0984278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18576" y="2117762"/>
                <a:ext cx="154855" cy="347250"/>
              </a:xfrm>
              <a:custGeom>
                <a:avLst/>
                <a:gdLst>
                  <a:gd name="T0" fmla="*/ 148 w 198"/>
                  <a:gd name="T1" fmla="*/ 62 h 444"/>
                  <a:gd name="T2" fmla="*/ 162 w 198"/>
                  <a:gd name="T3" fmla="*/ 107 h 444"/>
                  <a:gd name="T4" fmla="*/ 155 w 198"/>
                  <a:gd name="T5" fmla="*/ 153 h 444"/>
                  <a:gd name="T6" fmla="*/ 165 w 198"/>
                  <a:gd name="T7" fmla="*/ 185 h 444"/>
                  <a:gd name="T8" fmla="*/ 169 w 198"/>
                  <a:gd name="T9" fmla="*/ 211 h 444"/>
                  <a:gd name="T10" fmla="*/ 165 w 198"/>
                  <a:gd name="T11" fmla="*/ 231 h 444"/>
                  <a:gd name="T12" fmla="*/ 165 w 198"/>
                  <a:gd name="T13" fmla="*/ 245 h 444"/>
                  <a:gd name="T14" fmla="*/ 172 w 198"/>
                  <a:gd name="T15" fmla="*/ 264 h 444"/>
                  <a:gd name="T16" fmla="*/ 175 w 198"/>
                  <a:gd name="T17" fmla="*/ 291 h 444"/>
                  <a:gd name="T18" fmla="*/ 195 w 198"/>
                  <a:gd name="T19" fmla="*/ 320 h 444"/>
                  <a:gd name="T20" fmla="*/ 189 w 198"/>
                  <a:gd name="T21" fmla="*/ 351 h 444"/>
                  <a:gd name="T22" fmla="*/ 158 w 198"/>
                  <a:gd name="T23" fmla="*/ 390 h 444"/>
                  <a:gd name="T24" fmla="*/ 130 w 198"/>
                  <a:gd name="T25" fmla="*/ 418 h 444"/>
                  <a:gd name="T26" fmla="*/ 109 w 198"/>
                  <a:gd name="T27" fmla="*/ 422 h 444"/>
                  <a:gd name="T28" fmla="*/ 105 w 198"/>
                  <a:gd name="T29" fmla="*/ 422 h 444"/>
                  <a:gd name="T30" fmla="*/ 94 w 198"/>
                  <a:gd name="T31" fmla="*/ 427 h 444"/>
                  <a:gd name="T32" fmla="*/ 73 w 198"/>
                  <a:gd name="T33" fmla="*/ 433 h 444"/>
                  <a:gd name="T34" fmla="*/ 48 w 198"/>
                  <a:gd name="T35" fmla="*/ 443 h 444"/>
                  <a:gd name="T36" fmla="*/ 44 w 198"/>
                  <a:gd name="T37" fmla="*/ 434 h 444"/>
                  <a:gd name="T38" fmla="*/ 34 w 198"/>
                  <a:gd name="T39" fmla="*/ 437 h 444"/>
                  <a:gd name="T40" fmla="*/ 37 w 198"/>
                  <a:gd name="T41" fmla="*/ 429 h 444"/>
                  <a:gd name="T42" fmla="*/ 23 w 198"/>
                  <a:gd name="T43" fmla="*/ 419 h 444"/>
                  <a:gd name="T44" fmla="*/ 14 w 198"/>
                  <a:gd name="T45" fmla="*/ 406 h 444"/>
                  <a:gd name="T46" fmla="*/ 19 w 198"/>
                  <a:gd name="T47" fmla="*/ 383 h 444"/>
                  <a:gd name="T48" fmla="*/ 17 w 198"/>
                  <a:gd name="T49" fmla="*/ 374 h 444"/>
                  <a:gd name="T50" fmla="*/ 10 w 198"/>
                  <a:gd name="T51" fmla="*/ 342 h 444"/>
                  <a:gd name="T52" fmla="*/ 17 w 198"/>
                  <a:gd name="T53" fmla="*/ 317 h 444"/>
                  <a:gd name="T54" fmla="*/ 31 w 198"/>
                  <a:gd name="T55" fmla="*/ 305 h 444"/>
                  <a:gd name="T56" fmla="*/ 46 w 198"/>
                  <a:gd name="T57" fmla="*/ 288 h 444"/>
                  <a:gd name="T58" fmla="*/ 70 w 198"/>
                  <a:gd name="T59" fmla="*/ 255 h 444"/>
                  <a:gd name="T60" fmla="*/ 85 w 198"/>
                  <a:gd name="T61" fmla="*/ 245 h 444"/>
                  <a:gd name="T62" fmla="*/ 87 w 198"/>
                  <a:gd name="T63" fmla="*/ 220 h 444"/>
                  <a:gd name="T64" fmla="*/ 71 w 198"/>
                  <a:gd name="T65" fmla="*/ 204 h 444"/>
                  <a:gd name="T66" fmla="*/ 56 w 198"/>
                  <a:gd name="T67" fmla="*/ 186 h 444"/>
                  <a:gd name="T68" fmla="*/ 60 w 198"/>
                  <a:gd name="T69" fmla="*/ 161 h 444"/>
                  <a:gd name="T70" fmla="*/ 55 w 198"/>
                  <a:gd name="T71" fmla="*/ 140 h 444"/>
                  <a:gd name="T72" fmla="*/ 52 w 198"/>
                  <a:gd name="T73" fmla="*/ 129 h 444"/>
                  <a:gd name="T74" fmla="*/ 56 w 198"/>
                  <a:gd name="T75" fmla="*/ 107 h 444"/>
                  <a:gd name="T76" fmla="*/ 32 w 198"/>
                  <a:gd name="T77" fmla="*/ 82 h 444"/>
                  <a:gd name="T78" fmla="*/ 10 w 198"/>
                  <a:gd name="T79" fmla="*/ 64 h 444"/>
                  <a:gd name="T80" fmla="*/ 9 w 198"/>
                  <a:gd name="T81" fmla="*/ 51 h 444"/>
                  <a:gd name="T82" fmla="*/ 23 w 198"/>
                  <a:gd name="T83" fmla="*/ 47 h 444"/>
                  <a:gd name="T84" fmla="*/ 46 w 198"/>
                  <a:gd name="T85" fmla="*/ 72 h 444"/>
                  <a:gd name="T86" fmla="*/ 71 w 198"/>
                  <a:gd name="T87" fmla="*/ 71 h 444"/>
                  <a:gd name="T88" fmla="*/ 91 w 198"/>
                  <a:gd name="T89" fmla="*/ 61 h 444"/>
                  <a:gd name="T90" fmla="*/ 99 w 198"/>
                  <a:gd name="T91" fmla="*/ 19 h 444"/>
                  <a:gd name="T92" fmla="*/ 120 w 198"/>
                  <a:gd name="T93" fmla="*/ 7 h 444"/>
                  <a:gd name="T94" fmla="*/ 155 w 198"/>
                  <a:gd name="T95" fmla="*/ 20 h 444"/>
                  <a:gd name="T96" fmla="*/ 77 w 198"/>
                  <a:gd name="T97" fmla="*/ 241 h 444"/>
                  <a:gd name="T98" fmla="*/ 77 w 198"/>
                  <a:gd name="T99" fmla="*/ 241 h 444"/>
                  <a:gd name="T100" fmla="*/ 13 w 198"/>
                  <a:gd name="T101" fmla="*/ 316 h 444"/>
                  <a:gd name="T102" fmla="*/ 16 w 198"/>
                  <a:gd name="T103" fmla="*/ 420 h 444"/>
                  <a:gd name="T104" fmla="*/ 26 w 198"/>
                  <a:gd name="T105" fmla="*/ 426 h 444"/>
                  <a:gd name="T106" fmla="*/ 24 w 198"/>
                  <a:gd name="T107" fmla="*/ 423 h 444"/>
                  <a:gd name="T108" fmla="*/ 32 w 198"/>
                  <a:gd name="T109" fmla="*/ 430 h 444"/>
                  <a:gd name="T110" fmla="*/ 28 w 198"/>
                  <a:gd name="T111" fmla="*/ 425 h 444"/>
                  <a:gd name="T112" fmla="*/ 17 w 198"/>
                  <a:gd name="T113" fmla="*/ 434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98" h="444">
                    <a:moveTo>
                      <a:pt x="152" y="54"/>
                    </a:moveTo>
                    <a:lnTo>
                      <a:pt x="151" y="54"/>
                    </a:lnTo>
                    <a:lnTo>
                      <a:pt x="147" y="57"/>
                    </a:lnTo>
                    <a:lnTo>
                      <a:pt x="145" y="58"/>
                    </a:lnTo>
                    <a:lnTo>
                      <a:pt x="143" y="59"/>
                    </a:lnTo>
                    <a:lnTo>
                      <a:pt x="143" y="61"/>
                    </a:lnTo>
                    <a:lnTo>
                      <a:pt x="148" y="61"/>
                    </a:lnTo>
                    <a:lnTo>
                      <a:pt x="148" y="62"/>
                    </a:lnTo>
                    <a:lnTo>
                      <a:pt x="148" y="62"/>
                    </a:lnTo>
                    <a:lnTo>
                      <a:pt x="149" y="64"/>
                    </a:lnTo>
                    <a:lnTo>
                      <a:pt x="148" y="66"/>
                    </a:lnTo>
                    <a:lnTo>
                      <a:pt x="144" y="78"/>
                    </a:lnTo>
                    <a:lnTo>
                      <a:pt x="144" y="80"/>
                    </a:lnTo>
                    <a:lnTo>
                      <a:pt x="145" y="87"/>
                    </a:lnTo>
                    <a:lnTo>
                      <a:pt x="147" y="94"/>
                    </a:lnTo>
                    <a:lnTo>
                      <a:pt x="154" y="98"/>
                    </a:lnTo>
                    <a:lnTo>
                      <a:pt x="159" y="101"/>
                    </a:lnTo>
                    <a:lnTo>
                      <a:pt x="162" y="107"/>
                    </a:lnTo>
                    <a:lnTo>
                      <a:pt x="168" y="115"/>
                    </a:lnTo>
                    <a:lnTo>
                      <a:pt x="170" y="119"/>
                    </a:lnTo>
                    <a:lnTo>
                      <a:pt x="170" y="119"/>
                    </a:lnTo>
                    <a:lnTo>
                      <a:pt x="170" y="126"/>
                    </a:lnTo>
                    <a:lnTo>
                      <a:pt x="166" y="132"/>
                    </a:lnTo>
                    <a:lnTo>
                      <a:pt x="163" y="136"/>
                    </a:lnTo>
                    <a:lnTo>
                      <a:pt x="159" y="142"/>
                    </a:lnTo>
                    <a:lnTo>
                      <a:pt x="158" y="147"/>
                    </a:lnTo>
                    <a:lnTo>
                      <a:pt x="155" y="153"/>
                    </a:lnTo>
                    <a:lnTo>
                      <a:pt x="154" y="154"/>
                    </a:lnTo>
                    <a:lnTo>
                      <a:pt x="154" y="157"/>
                    </a:lnTo>
                    <a:lnTo>
                      <a:pt x="155" y="158"/>
                    </a:lnTo>
                    <a:lnTo>
                      <a:pt x="158" y="165"/>
                    </a:lnTo>
                    <a:lnTo>
                      <a:pt x="159" y="170"/>
                    </a:lnTo>
                    <a:lnTo>
                      <a:pt x="161" y="172"/>
                    </a:lnTo>
                    <a:lnTo>
                      <a:pt x="163" y="177"/>
                    </a:lnTo>
                    <a:lnTo>
                      <a:pt x="163" y="181"/>
                    </a:lnTo>
                    <a:lnTo>
                      <a:pt x="165" y="185"/>
                    </a:lnTo>
                    <a:lnTo>
                      <a:pt x="166" y="186"/>
                    </a:lnTo>
                    <a:lnTo>
                      <a:pt x="168" y="189"/>
                    </a:lnTo>
                    <a:lnTo>
                      <a:pt x="169" y="193"/>
                    </a:lnTo>
                    <a:lnTo>
                      <a:pt x="170" y="196"/>
                    </a:lnTo>
                    <a:lnTo>
                      <a:pt x="173" y="206"/>
                    </a:lnTo>
                    <a:lnTo>
                      <a:pt x="173" y="209"/>
                    </a:lnTo>
                    <a:lnTo>
                      <a:pt x="173" y="211"/>
                    </a:lnTo>
                    <a:lnTo>
                      <a:pt x="172" y="211"/>
                    </a:lnTo>
                    <a:lnTo>
                      <a:pt x="169" y="211"/>
                    </a:lnTo>
                    <a:lnTo>
                      <a:pt x="166" y="213"/>
                    </a:lnTo>
                    <a:lnTo>
                      <a:pt x="166" y="214"/>
                    </a:lnTo>
                    <a:lnTo>
                      <a:pt x="168" y="216"/>
                    </a:lnTo>
                    <a:lnTo>
                      <a:pt x="166" y="220"/>
                    </a:lnTo>
                    <a:lnTo>
                      <a:pt x="166" y="227"/>
                    </a:lnTo>
                    <a:lnTo>
                      <a:pt x="163" y="229"/>
                    </a:lnTo>
                    <a:lnTo>
                      <a:pt x="163" y="229"/>
                    </a:lnTo>
                    <a:lnTo>
                      <a:pt x="163" y="231"/>
                    </a:lnTo>
                    <a:lnTo>
                      <a:pt x="165" y="231"/>
                    </a:lnTo>
                    <a:lnTo>
                      <a:pt x="168" y="232"/>
                    </a:lnTo>
                    <a:lnTo>
                      <a:pt x="168" y="232"/>
                    </a:lnTo>
                    <a:lnTo>
                      <a:pt x="168" y="235"/>
                    </a:lnTo>
                    <a:lnTo>
                      <a:pt x="168" y="236"/>
                    </a:lnTo>
                    <a:lnTo>
                      <a:pt x="166" y="238"/>
                    </a:lnTo>
                    <a:lnTo>
                      <a:pt x="165" y="239"/>
                    </a:lnTo>
                    <a:lnTo>
                      <a:pt x="163" y="241"/>
                    </a:lnTo>
                    <a:lnTo>
                      <a:pt x="163" y="242"/>
                    </a:lnTo>
                    <a:lnTo>
                      <a:pt x="165" y="245"/>
                    </a:lnTo>
                    <a:lnTo>
                      <a:pt x="166" y="248"/>
                    </a:lnTo>
                    <a:lnTo>
                      <a:pt x="168" y="249"/>
                    </a:lnTo>
                    <a:lnTo>
                      <a:pt x="172" y="250"/>
                    </a:lnTo>
                    <a:lnTo>
                      <a:pt x="173" y="252"/>
                    </a:lnTo>
                    <a:lnTo>
                      <a:pt x="173" y="255"/>
                    </a:lnTo>
                    <a:lnTo>
                      <a:pt x="173" y="256"/>
                    </a:lnTo>
                    <a:lnTo>
                      <a:pt x="170" y="260"/>
                    </a:lnTo>
                    <a:lnTo>
                      <a:pt x="170" y="262"/>
                    </a:lnTo>
                    <a:lnTo>
                      <a:pt x="172" y="264"/>
                    </a:lnTo>
                    <a:lnTo>
                      <a:pt x="173" y="267"/>
                    </a:lnTo>
                    <a:lnTo>
                      <a:pt x="179" y="271"/>
                    </a:lnTo>
                    <a:lnTo>
                      <a:pt x="180" y="273"/>
                    </a:lnTo>
                    <a:lnTo>
                      <a:pt x="180" y="274"/>
                    </a:lnTo>
                    <a:lnTo>
                      <a:pt x="180" y="277"/>
                    </a:lnTo>
                    <a:lnTo>
                      <a:pt x="180" y="280"/>
                    </a:lnTo>
                    <a:lnTo>
                      <a:pt x="180" y="282"/>
                    </a:lnTo>
                    <a:lnTo>
                      <a:pt x="179" y="285"/>
                    </a:lnTo>
                    <a:lnTo>
                      <a:pt x="175" y="291"/>
                    </a:lnTo>
                    <a:lnTo>
                      <a:pt x="170" y="294"/>
                    </a:lnTo>
                    <a:lnTo>
                      <a:pt x="170" y="294"/>
                    </a:lnTo>
                    <a:lnTo>
                      <a:pt x="172" y="295"/>
                    </a:lnTo>
                    <a:lnTo>
                      <a:pt x="179" y="303"/>
                    </a:lnTo>
                    <a:lnTo>
                      <a:pt x="183" y="306"/>
                    </a:lnTo>
                    <a:lnTo>
                      <a:pt x="189" y="312"/>
                    </a:lnTo>
                    <a:lnTo>
                      <a:pt x="193" y="314"/>
                    </a:lnTo>
                    <a:lnTo>
                      <a:pt x="194" y="317"/>
                    </a:lnTo>
                    <a:lnTo>
                      <a:pt x="195" y="320"/>
                    </a:lnTo>
                    <a:lnTo>
                      <a:pt x="197" y="323"/>
                    </a:lnTo>
                    <a:lnTo>
                      <a:pt x="198" y="326"/>
                    </a:lnTo>
                    <a:lnTo>
                      <a:pt x="198" y="327"/>
                    </a:lnTo>
                    <a:lnTo>
                      <a:pt x="198" y="328"/>
                    </a:lnTo>
                    <a:lnTo>
                      <a:pt x="197" y="333"/>
                    </a:lnTo>
                    <a:lnTo>
                      <a:pt x="195" y="335"/>
                    </a:lnTo>
                    <a:lnTo>
                      <a:pt x="194" y="341"/>
                    </a:lnTo>
                    <a:lnTo>
                      <a:pt x="193" y="344"/>
                    </a:lnTo>
                    <a:lnTo>
                      <a:pt x="189" y="351"/>
                    </a:lnTo>
                    <a:lnTo>
                      <a:pt x="182" y="358"/>
                    </a:lnTo>
                    <a:lnTo>
                      <a:pt x="180" y="360"/>
                    </a:lnTo>
                    <a:lnTo>
                      <a:pt x="176" y="365"/>
                    </a:lnTo>
                    <a:lnTo>
                      <a:pt x="172" y="372"/>
                    </a:lnTo>
                    <a:lnTo>
                      <a:pt x="170" y="374"/>
                    </a:lnTo>
                    <a:lnTo>
                      <a:pt x="165" y="380"/>
                    </a:lnTo>
                    <a:lnTo>
                      <a:pt x="163" y="383"/>
                    </a:lnTo>
                    <a:lnTo>
                      <a:pt x="162" y="384"/>
                    </a:lnTo>
                    <a:lnTo>
                      <a:pt x="158" y="390"/>
                    </a:lnTo>
                    <a:lnTo>
                      <a:pt x="152" y="394"/>
                    </a:lnTo>
                    <a:lnTo>
                      <a:pt x="148" y="398"/>
                    </a:lnTo>
                    <a:lnTo>
                      <a:pt x="147" y="401"/>
                    </a:lnTo>
                    <a:lnTo>
                      <a:pt x="145" y="402"/>
                    </a:lnTo>
                    <a:lnTo>
                      <a:pt x="143" y="404"/>
                    </a:lnTo>
                    <a:lnTo>
                      <a:pt x="143" y="405"/>
                    </a:lnTo>
                    <a:lnTo>
                      <a:pt x="137" y="411"/>
                    </a:lnTo>
                    <a:lnTo>
                      <a:pt x="131" y="418"/>
                    </a:lnTo>
                    <a:lnTo>
                      <a:pt x="130" y="418"/>
                    </a:lnTo>
                    <a:lnTo>
                      <a:pt x="129" y="419"/>
                    </a:lnTo>
                    <a:lnTo>
                      <a:pt x="126" y="419"/>
                    </a:lnTo>
                    <a:lnTo>
                      <a:pt x="124" y="420"/>
                    </a:lnTo>
                    <a:lnTo>
                      <a:pt x="120" y="418"/>
                    </a:lnTo>
                    <a:lnTo>
                      <a:pt x="120" y="418"/>
                    </a:lnTo>
                    <a:lnTo>
                      <a:pt x="117" y="419"/>
                    </a:lnTo>
                    <a:lnTo>
                      <a:pt x="116" y="420"/>
                    </a:lnTo>
                    <a:lnTo>
                      <a:pt x="112" y="420"/>
                    </a:lnTo>
                    <a:lnTo>
                      <a:pt x="109" y="422"/>
                    </a:lnTo>
                    <a:lnTo>
                      <a:pt x="108" y="423"/>
                    </a:lnTo>
                    <a:lnTo>
                      <a:pt x="108" y="420"/>
                    </a:lnTo>
                    <a:lnTo>
                      <a:pt x="108" y="418"/>
                    </a:lnTo>
                    <a:lnTo>
                      <a:pt x="109" y="416"/>
                    </a:lnTo>
                    <a:lnTo>
                      <a:pt x="109" y="415"/>
                    </a:lnTo>
                    <a:lnTo>
                      <a:pt x="109" y="415"/>
                    </a:lnTo>
                    <a:lnTo>
                      <a:pt x="108" y="418"/>
                    </a:lnTo>
                    <a:lnTo>
                      <a:pt x="106" y="420"/>
                    </a:lnTo>
                    <a:lnTo>
                      <a:pt x="105" y="422"/>
                    </a:lnTo>
                    <a:lnTo>
                      <a:pt x="102" y="423"/>
                    </a:lnTo>
                    <a:lnTo>
                      <a:pt x="99" y="420"/>
                    </a:lnTo>
                    <a:lnTo>
                      <a:pt x="98" y="420"/>
                    </a:lnTo>
                    <a:lnTo>
                      <a:pt x="98" y="422"/>
                    </a:lnTo>
                    <a:lnTo>
                      <a:pt x="99" y="425"/>
                    </a:lnTo>
                    <a:lnTo>
                      <a:pt x="99" y="425"/>
                    </a:lnTo>
                    <a:lnTo>
                      <a:pt x="98" y="425"/>
                    </a:lnTo>
                    <a:lnTo>
                      <a:pt x="95" y="426"/>
                    </a:lnTo>
                    <a:lnTo>
                      <a:pt x="94" y="427"/>
                    </a:lnTo>
                    <a:lnTo>
                      <a:pt x="94" y="427"/>
                    </a:lnTo>
                    <a:lnTo>
                      <a:pt x="92" y="426"/>
                    </a:lnTo>
                    <a:lnTo>
                      <a:pt x="90" y="426"/>
                    </a:lnTo>
                    <a:lnTo>
                      <a:pt x="88" y="429"/>
                    </a:lnTo>
                    <a:lnTo>
                      <a:pt x="85" y="429"/>
                    </a:lnTo>
                    <a:lnTo>
                      <a:pt x="83" y="430"/>
                    </a:lnTo>
                    <a:lnTo>
                      <a:pt x="80" y="432"/>
                    </a:lnTo>
                    <a:lnTo>
                      <a:pt x="77" y="432"/>
                    </a:lnTo>
                    <a:lnTo>
                      <a:pt x="73" y="433"/>
                    </a:lnTo>
                    <a:lnTo>
                      <a:pt x="71" y="436"/>
                    </a:lnTo>
                    <a:lnTo>
                      <a:pt x="70" y="437"/>
                    </a:lnTo>
                    <a:lnTo>
                      <a:pt x="69" y="436"/>
                    </a:lnTo>
                    <a:lnTo>
                      <a:pt x="63" y="437"/>
                    </a:lnTo>
                    <a:lnTo>
                      <a:pt x="58" y="438"/>
                    </a:lnTo>
                    <a:lnTo>
                      <a:pt x="55" y="438"/>
                    </a:lnTo>
                    <a:lnTo>
                      <a:pt x="52" y="438"/>
                    </a:lnTo>
                    <a:lnTo>
                      <a:pt x="49" y="440"/>
                    </a:lnTo>
                    <a:lnTo>
                      <a:pt x="48" y="443"/>
                    </a:lnTo>
                    <a:lnTo>
                      <a:pt x="44" y="444"/>
                    </a:lnTo>
                    <a:lnTo>
                      <a:pt x="44" y="444"/>
                    </a:lnTo>
                    <a:lnTo>
                      <a:pt x="44" y="443"/>
                    </a:lnTo>
                    <a:lnTo>
                      <a:pt x="46" y="441"/>
                    </a:lnTo>
                    <a:lnTo>
                      <a:pt x="48" y="438"/>
                    </a:lnTo>
                    <a:lnTo>
                      <a:pt x="48" y="437"/>
                    </a:lnTo>
                    <a:lnTo>
                      <a:pt x="46" y="436"/>
                    </a:lnTo>
                    <a:lnTo>
                      <a:pt x="45" y="436"/>
                    </a:lnTo>
                    <a:lnTo>
                      <a:pt x="44" y="434"/>
                    </a:lnTo>
                    <a:lnTo>
                      <a:pt x="42" y="430"/>
                    </a:lnTo>
                    <a:lnTo>
                      <a:pt x="41" y="430"/>
                    </a:lnTo>
                    <a:lnTo>
                      <a:pt x="41" y="430"/>
                    </a:lnTo>
                    <a:lnTo>
                      <a:pt x="41" y="434"/>
                    </a:lnTo>
                    <a:lnTo>
                      <a:pt x="41" y="434"/>
                    </a:lnTo>
                    <a:lnTo>
                      <a:pt x="39" y="436"/>
                    </a:lnTo>
                    <a:lnTo>
                      <a:pt x="38" y="436"/>
                    </a:lnTo>
                    <a:lnTo>
                      <a:pt x="38" y="437"/>
                    </a:lnTo>
                    <a:lnTo>
                      <a:pt x="34" y="437"/>
                    </a:lnTo>
                    <a:lnTo>
                      <a:pt x="34" y="434"/>
                    </a:lnTo>
                    <a:lnTo>
                      <a:pt x="34" y="434"/>
                    </a:lnTo>
                    <a:lnTo>
                      <a:pt x="34" y="433"/>
                    </a:lnTo>
                    <a:lnTo>
                      <a:pt x="34" y="432"/>
                    </a:lnTo>
                    <a:lnTo>
                      <a:pt x="34" y="430"/>
                    </a:lnTo>
                    <a:lnTo>
                      <a:pt x="35" y="430"/>
                    </a:lnTo>
                    <a:lnTo>
                      <a:pt x="37" y="430"/>
                    </a:lnTo>
                    <a:lnTo>
                      <a:pt x="37" y="429"/>
                    </a:lnTo>
                    <a:lnTo>
                      <a:pt x="37" y="429"/>
                    </a:lnTo>
                    <a:lnTo>
                      <a:pt x="35" y="427"/>
                    </a:lnTo>
                    <a:lnTo>
                      <a:pt x="35" y="427"/>
                    </a:lnTo>
                    <a:lnTo>
                      <a:pt x="37" y="425"/>
                    </a:lnTo>
                    <a:lnTo>
                      <a:pt x="37" y="423"/>
                    </a:lnTo>
                    <a:lnTo>
                      <a:pt x="35" y="423"/>
                    </a:lnTo>
                    <a:lnTo>
                      <a:pt x="35" y="423"/>
                    </a:lnTo>
                    <a:lnTo>
                      <a:pt x="31" y="423"/>
                    </a:lnTo>
                    <a:lnTo>
                      <a:pt x="24" y="419"/>
                    </a:lnTo>
                    <a:lnTo>
                      <a:pt x="23" y="419"/>
                    </a:lnTo>
                    <a:lnTo>
                      <a:pt x="23" y="416"/>
                    </a:lnTo>
                    <a:lnTo>
                      <a:pt x="21" y="416"/>
                    </a:lnTo>
                    <a:lnTo>
                      <a:pt x="19" y="418"/>
                    </a:lnTo>
                    <a:lnTo>
                      <a:pt x="17" y="416"/>
                    </a:lnTo>
                    <a:lnTo>
                      <a:pt x="16" y="416"/>
                    </a:lnTo>
                    <a:lnTo>
                      <a:pt x="14" y="415"/>
                    </a:lnTo>
                    <a:lnTo>
                      <a:pt x="16" y="412"/>
                    </a:lnTo>
                    <a:lnTo>
                      <a:pt x="14" y="409"/>
                    </a:lnTo>
                    <a:lnTo>
                      <a:pt x="14" y="406"/>
                    </a:lnTo>
                    <a:lnTo>
                      <a:pt x="14" y="402"/>
                    </a:lnTo>
                    <a:lnTo>
                      <a:pt x="14" y="398"/>
                    </a:lnTo>
                    <a:lnTo>
                      <a:pt x="16" y="397"/>
                    </a:lnTo>
                    <a:lnTo>
                      <a:pt x="16" y="394"/>
                    </a:lnTo>
                    <a:lnTo>
                      <a:pt x="17" y="390"/>
                    </a:lnTo>
                    <a:lnTo>
                      <a:pt x="17" y="386"/>
                    </a:lnTo>
                    <a:lnTo>
                      <a:pt x="17" y="384"/>
                    </a:lnTo>
                    <a:lnTo>
                      <a:pt x="17" y="383"/>
                    </a:lnTo>
                    <a:lnTo>
                      <a:pt x="19" y="383"/>
                    </a:lnTo>
                    <a:lnTo>
                      <a:pt x="17" y="381"/>
                    </a:lnTo>
                    <a:lnTo>
                      <a:pt x="17" y="381"/>
                    </a:lnTo>
                    <a:lnTo>
                      <a:pt x="17" y="380"/>
                    </a:lnTo>
                    <a:lnTo>
                      <a:pt x="17" y="380"/>
                    </a:lnTo>
                    <a:lnTo>
                      <a:pt x="19" y="380"/>
                    </a:lnTo>
                    <a:lnTo>
                      <a:pt x="19" y="379"/>
                    </a:lnTo>
                    <a:lnTo>
                      <a:pt x="19" y="379"/>
                    </a:lnTo>
                    <a:lnTo>
                      <a:pt x="17" y="376"/>
                    </a:lnTo>
                    <a:lnTo>
                      <a:pt x="17" y="374"/>
                    </a:lnTo>
                    <a:lnTo>
                      <a:pt x="16" y="370"/>
                    </a:lnTo>
                    <a:lnTo>
                      <a:pt x="14" y="366"/>
                    </a:lnTo>
                    <a:lnTo>
                      <a:pt x="12" y="363"/>
                    </a:lnTo>
                    <a:lnTo>
                      <a:pt x="13" y="359"/>
                    </a:lnTo>
                    <a:lnTo>
                      <a:pt x="14" y="353"/>
                    </a:lnTo>
                    <a:lnTo>
                      <a:pt x="14" y="352"/>
                    </a:lnTo>
                    <a:lnTo>
                      <a:pt x="13" y="349"/>
                    </a:lnTo>
                    <a:lnTo>
                      <a:pt x="10" y="347"/>
                    </a:lnTo>
                    <a:lnTo>
                      <a:pt x="10" y="342"/>
                    </a:lnTo>
                    <a:lnTo>
                      <a:pt x="9" y="338"/>
                    </a:lnTo>
                    <a:lnTo>
                      <a:pt x="10" y="335"/>
                    </a:lnTo>
                    <a:lnTo>
                      <a:pt x="10" y="334"/>
                    </a:lnTo>
                    <a:lnTo>
                      <a:pt x="12" y="331"/>
                    </a:lnTo>
                    <a:lnTo>
                      <a:pt x="16" y="326"/>
                    </a:lnTo>
                    <a:lnTo>
                      <a:pt x="16" y="323"/>
                    </a:lnTo>
                    <a:lnTo>
                      <a:pt x="20" y="321"/>
                    </a:lnTo>
                    <a:lnTo>
                      <a:pt x="19" y="319"/>
                    </a:lnTo>
                    <a:lnTo>
                      <a:pt x="17" y="317"/>
                    </a:lnTo>
                    <a:lnTo>
                      <a:pt x="17" y="316"/>
                    </a:lnTo>
                    <a:lnTo>
                      <a:pt x="23" y="314"/>
                    </a:lnTo>
                    <a:lnTo>
                      <a:pt x="24" y="314"/>
                    </a:lnTo>
                    <a:lnTo>
                      <a:pt x="28" y="313"/>
                    </a:lnTo>
                    <a:lnTo>
                      <a:pt x="31" y="312"/>
                    </a:lnTo>
                    <a:lnTo>
                      <a:pt x="31" y="310"/>
                    </a:lnTo>
                    <a:lnTo>
                      <a:pt x="31" y="309"/>
                    </a:lnTo>
                    <a:lnTo>
                      <a:pt x="30" y="306"/>
                    </a:lnTo>
                    <a:lnTo>
                      <a:pt x="31" y="305"/>
                    </a:lnTo>
                    <a:lnTo>
                      <a:pt x="32" y="306"/>
                    </a:lnTo>
                    <a:lnTo>
                      <a:pt x="31" y="305"/>
                    </a:lnTo>
                    <a:lnTo>
                      <a:pt x="31" y="303"/>
                    </a:lnTo>
                    <a:lnTo>
                      <a:pt x="32" y="303"/>
                    </a:lnTo>
                    <a:lnTo>
                      <a:pt x="35" y="301"/>
                    </a:lnTo>
                    <a:lnTo>
                      <a:pt x="35" y="298"/>
                    </a:lnTo>
                    <a:lnTo>
                      <a:pt x="39" y="296"/>
                    </a:lnTo>
                    <a:lnTo>
                      <a:pt x="44" y="291"/>
                    </a:lnTo>
                    <a:lnTo>
                      <a:pt x="46" y="288"/>
                    </a:lnTo>
                    <a:lnTo>
                      <a:pt x="48" y="287"/>
                    </a:lnTo>
                    <a:lnTo>
                      <a:pt x="53" y="281"/>
                    </a:lnTo>
                    <a:lnTo>
                      <a:pt x="55" y="281"/>
                    </a:lnTo>
                    <a:lnTo>
                      <a:pt x="56" y="277"/>
                    </a:lnTo>
                    <a:lnTo>
                      <a:pt x="59" y="273"/>
                    </a:lnTo>
                    <a:lnTo>
                      <a:pt x="60" y="271"/>
                    </a:lnTo>
                    <a:lnTo>
                      <a:pt x="63" y="267"/>
                    </a:lnTo>
                    <a:lnTo>
                      <a:pt x="67" y="262"/>
                    </a:lnTo>
                    <a:lnTo>
                      <a:pt x="70" y="255"/>
                    </a:lnTo>
                    <a:lnTo>
                      <a:pt x="71" y="252"/>
                    </a:lnTo>
                    <a:lnTo>
                      <a:pt x="71" y="249"/>
                    </a:lnTo>
                    <a:lnTo>
                      <a:pt x="74" y="249"/>
                    </a:lnTo>
                    <a:lnTo>
                      <a:pt x="76" y="248"/>
                    </a:lnTo>
                    <a:lnTo>
                      <a:pt x="80" y="246"/>
                    </a:lnTo>
                    <a:lnTo>
                      <a:pt x="83" y="246"/>
                    </a:lnTo>
                    <a:lnTo>
                      <a:pt x="84" y="248"/>
                    </a:lnTo>
                    <a:lnTo>
                      <a:pt x="85" y="246"/>
                    </a:lnTo>
                    <a:lnTo>
                      <a:pt x="85" y="245"/>
                    </a:lnTo>
                    <a:lnTo>
                      <a:pt x="84" y="243"/>
                    </a:lnTo>
                    <a:lnTo>
                      <a:pt x="85" y="242"/>
                    </a:lnTo>
                    <a:lnTo>
                      <a:pt x="87" y="241"/>
                    </a:lnTo>
                    <a:lnTo>
                      <a:pt x="87" y="238"/>
                    </a:lnTo>
                    <a:lnTo>
                      <a:pt x="87" y="236"/>
                    </a:lnTo>
                    <a:lnTo>
                      <a:pt x="85" y="235"/>
                    </a:lnTo>
                    <a:lnTo>
                      <a:pt x="85" y="231"/>
                    </a:lnTo>
                    <a:lnTo>
                      <a:pt x="85" y="225"/>
                    </a:lnTo>
                    <a:lnTo>
                      <a:pt x="87" y="220"/>
                    </a:lnTo>
                    <a:lnTo>
                      <a:pt x="84" y="217"/>
                    </a:lnTo>
                    <a:lnTo>
                      <a:pt x="77" y="211"/>
                    </a:lnTo>
                    <a:lnTo>
                      <a:pt x="76" y="213"/>
                    </a:lnTo>
                    <a:lnTo>
                      <a:pt x="74" y="211"/>
                    </a:lnTo>
                    <a:lnTo>
                      <a:pt x="73" y="207"/>
                    </a:lnTo>
                    <a:lnTo>
                      <a:pt x="73" y="204"/>
                    </a:lnTo>
                    <a:lnTo>
                      <a:pt x="73" y="203"/>
                    </a:lnTo>
                    <a:lnTo>
                      <a:pt x="73" y="203"/>
                    </a:lnTo>
                    <a:lnTo>
                      <a:pt x="71" y="204"/>
                    </a:lnTo>
                    <a:lnTo>
                      <a:pt x="70" y="207"/>
                    </a:lnTo>
                    <a:lnTo>
                      <a:pt x="66" y="206"/>
                    </a:lnTo>
                    <a:lnTo>
                      <a:pt x="65" y="206"/>
                    </a:lnTo>
                    <a:lnTo>
                      <a:pt x="63" y="197"/>
                    </a:lnTo>
                    <a:lnTo>
                      <a:pt x="62" y="195"/>
                    </a:lnTo>
                    <a:lnTo>
                      <a:pt x="60" y="190"/>
                    </a:lnTo>
                    <a:lnTo>
                      <a:pt x="58" y="189"/>
                    </a:lnTo>
                    <a:lnTo>
                      <a:pt x="58" y="188"/>
                    </a:lnTo>
                    <a:lnTo>
                      <a:pt x="56" y="186"/>
                    </a:lnTo>
                    <a:lnTo>
                      <a:pt x="56" y="183"/>
                    </a:lnTo>
                    <a:lnTo>
                      <a:pt x="56" y="179"/>
                    </a:lnTo>
                    <a:lnTo>
                      <a:pt x="56" y="177"/>
                    </a:lnTo>
                    <a:lnTo>
                      <a:pt x="56" y="175"/>
                    </a:lnTo>
                    <a:lnTo>
                      <a:pt x="58" y="174"/>
                    </a:lnTo>
                    <a:lnTo>
                      <a:pt x="59" y="171"/>
                    </a:lnTo>
                    <a:lnTo>
                      <a:pt x="60" y="168"/>
                    </a:lnTo>
                    <a:lnTo>
                      <a:pt x="60" y="165"/>
                    </a:lnTo>
                    <a:lnTo>
                      <a:pt x="60" y="161"/>
                    </a:lnTo>
                    <a:lnTo>
                      <a:pt x="62" y="160"/>
                    </a:lnTo>
                    <a:lnTo>
                      <a:pt x="62" y="158"/>
                    </a:lnTo>
                    <a:lnTo>
                      <a:pt x="60" y="157"/>
                    </a:lnTo>
                    <a:lnTo>
                      <a:pt x="60" y="154"/>
                    </a:lnTo>
                    <a:lnTo>
                      <a:pt x="58" y="151"/>
                    </a:lnTo>
                    <a:lnTo>
                      <a:pt x="56" y="149"/>
                    </a:lnTo>
                    <a:lnTo>
                      <a:pt x="56" y="146"/>
                    </a:lnTo>
                    <a:lnTo>
                      <a:pt x="55" y="143"/>
                    </a:lnTo>
                    <a:lnTo>
                      <a:pt x="55" y="140"/>
                    </a:lnTo>
                    <a:lnTo>
                      <a:pt x="56" y="139"/>
                    </a:lnTo>
                    <a:lnTo>
                      <a:pt x="58" y="137"/>
                    </a:lnTo>
                    <a:lnTo>
                      <a:pt x="58" y="136"/>
                    </a:lnTo>
                    <a:lnTo>
                      <a:pt x="58" y="132"/>
                    </a:lnTo>
                    <a:lnTo>
                      <a:pt x="56" y="131"/>
                    </a:lnTo>
                    <a:lnTo>
                      <a:pt x="53" y="131"/>
                    </a:lnTo>
                    <a:lnTo>
                      <a:pt x="52" y="131"/>
                    </a:lnTo>
                    <a:lnTo>
                      <a:pt x="52" y="129"/>
                    </a:lnTo>
                    <a:lnTo>
                      <a:pt x="52" y="129"/>
                    </a:lnTo>
                    <a:lnTo>
                      <a:pt x="52" y="128"/>
                    </a:lnTo>
                    <a:lnTo>
                      <a:pt x="53" y="125"/>
                    </a:lnTo>
                    <a:lnTo>
                      <a:pt x="53" y="124"/>
                    </a:lnTo>
                    <a:lnTo>
                      <a:pt x="53" y="122"/>
                    </a:lnTo>
                    <a:lnTo>
                      <a:pt x="53" y="118"/>
                    </a:lnTo>
                    <a:lnTo>
                      <a:pt x="53" y="114"/>
                    </a:lnTo>
                    <a:lnTo>
                      <a:pt x="53" y="110"/>
                    </a:lnTo>
                    <a:lnTo>
                      <a:pt x="55" y="107"/>
                    </a:lnTo>
                    <a:lnTo>
                      <a:pt x="56" y="107"/>
                    </a:lnTo>
                    <a:lnTo>
                      <a:pt x="52" y="103"/>
                    </a:lnTo>
                    <a:lnTo>
                      <a:pt x="51" y="100"/>
                    </a:lnTo>
                    <a:lnTo>
                      <a:pt x="49" y="97"/>
                    </a:lnTo>
                    <a:lnTo>
                      <a:pt x="48" y="97"/>
                    </a:lnTo>
                    <a:lnTo>
                      <a:pt x="45" y="92"/>
                    </a:lnTo>
                    <a:lnTo>
                      <a:pt x="44" y="89"/>
                    </a:lnTo>
                    <a:lnTo>
                      <a:pt x="41" y="86"/>
                    </a:lnTo>
                    <a:lnTo>
                      <a:pt x="39" y="85"/>
                    </a:lnTo>
                    <a:lnTo>
                      <a:pt x="32" y="82"/>
                    </a:lnTo>
                    <a:lnTo>
                      <a:pt x="30" y="80"/>
                    </a:lnTo>
                    <a:lnTo>
                      <a:pt x="26" y="79"/>
                    </a:lnTo>
                    <a:lnTo>
                      <a:pt x="23" y="76"/>
                    </a:lnTo>
                    <a:lnTo>
                      <a:pt x="21" y="75"/>
                    </a:lnTo>
                    <a:lnTo>
                      <a:pt x="19" y="72"/>
                    </a:lnTo>
                    <a:lnTo>
                      <a:pt x="16" y="71"/>
                    </a:lnTo>
                    <a:lnTo>
                      <a:pt x="16" y="68"/>
                    </a:lnTo>
                    <a:lnTo>
                      <a:pt x="12" y="65"/>
                    </a:lnTo>
                    <a:lnTo>
                      <a:pt x="10" y="64"/>
                    </a:lnTo>
                    <a:lnTo>
                      <a:pt x="6" y="59"/>
                    </a:lnTo>
                    <a:lnTo>
                      <a:pt x="6" y="58"/>
                    </a:lnTo>
                    <a:lnTo>
                      <a:pt x="6" y="57"/>
                    </a:lnTo>
                    <a:lnTo>
                      <a:pt x="6" y="55"/>
                    </a:lnTo>
                    <a:lnTo>
                      <a:pt x="0" y="52"/>
                    </a:lnTo>
                    <a:lnTo>
                      <a:pt x="2" y="51"/>
                    </a:lnTo>
                    <a:lnTo>
                      <a:pt x="6" y="51"/>
                    </a:lnTo>
                    <a:lnTo>
                      <a:pt x="9" y="52"/>
                    </a:lnTo>
                    <a:lnTo>
                      <a:pt x="9" y="51"/>
                    </a:lnTo>
                    <a:lnTo>
                      <a:pt x="10" y="50"/>
                    </a:lnTo>
                    <a:lnTo>
                      <a:pt x="9" y="46"/>
                    </a:lnTo>
                    <a:lnTo>
                      <a:pt x="9" y="44"/>
                    </a:lnTo>
                    <a:lnTo>
                      <a:pt x="10" y="41"/>
                    </a:lnTo>
                    <a:lnTo>
                      <a:pt x="13" y="40"/>
                    </a:lnTo>
                    <a:lnTo>
                      <a:pt x="16" y="40"/>
                    </a:lnTo>
                    <a:lnTo>
                      <a:pt x="19" y="40"/>
                    </a:lnTo>
                    <a:lnTo>
                      <a:pt x="19" y="41"/>
                    </a:lnTo>
                    <a:lnTo>
                      <a:pt x="23" y="47"/>
                    </a:lnTo>
                    <a:lnTo>
                      <a:pt x="26" y="52"/>
                    </a:lnTo>
                    <a:lnTo>
                      <a:pt x="27" y="55"/>
                    </a:lnTo>
                    <a:lnTo>
                      <a:pt x="31" y="62"/>
                    </a:lnTo>
                    <a:lnTo>
                      <a:pt x="32" y="65"/>
                    </a:lnTo>
                    <a:lnTo>
                      <a:pt x="34" y="69"/>
                    </a:lnTo>
                    <a:lnTo>
                      <a:pt x="35" y="69"/>
                    </a:lnTo>
                    <a:lnTo>
                      <a:pt x="41" y="69"/>
                    </a:lnTo>
                    <a:lnTo>
                      <a:pt x="45" y="71"/>
                    </a:lnTo>
                    <a:lnTo>
                      <a:pt x="46" y="72"/>
                    </a:lnTo>
                    <a:lnTo>
                      <a:pt x="49" y="72"/>
                    </a:lnTo>
                    <a:lnTo>
                      <a:pt x="52" y="71"/>
                    </a:lnTo>
                    <a:lnTo>
                      <a:pt x="56" y="69"/>
                    </a:lnTo>
                    <a:lnTo>
                      <a:pt x="58" y="66"/>
                    </a:lnTo>
                    <a:lnTo>
                      <a:pt x="59" y="64"/>
                    </a:lnTo>
                    <a:lnTo>
                      <a:pt x="62" y="65"/>
                    </a:lnTo>
                    <a:lnTo>
                      <a:pt x="65" y="66"/>
                    </a:lnTo>
                    <a:lnTo>
                      <a:pt x="69" y="69"/>
                    </a:lnTo>
                    <a:lnTo>
                      <a:pt x="71" y="71"/>
                    </a:lnTo>
                    <a:lnTo>
                      <a:pt x="74" y="72"/>
                    </a:lnTo>
                    <a:lnTo>
                      <a:pt x="77" y="75"/>
                    </a:lnTo>
                    <a:lnTo>
                      <a:pt x="78" y="75"/>
                    </a:lnTo>
                    <a:lnTo>
                      <a:pt x="81" y="72"/>
                    </a:lnTo>
                    <a:lnTo>
                      <a:pt x="84" y="66"/>
                    </a:lnTo>
                    <a:lnTo>
                      <a:pt x="85" y="64"/>
                    </a:lnTo>
                    <a:lnTo>
                      <a:pt x="87" y="61"/>
                    </a:lnTo>
                    <a:lnTo>
                      <a:pt x="90" y="61"/>
                    </a:lnTo>
                    <a:lnTo>
                      <a:pt x="91" y="61"/>
                    </a:lnTo>
                    <a:lnTo>
                      <a:pt x="92" y="58"/>
                    </a:lnTo>
                    <a:lnTo>
                      <a:pt x="94" y="55"/>
                    </a:lnTo>
                    <a:lnTo>
                      <a:pt x="94" y="51"/>
                    </a:lnTo>
                    <a:lnTo>
                      <a:pt x="94" y="43"/>
                    </a:lnTo>
                    <a:lnTo>
                      <a:pt x="94" y="40"/>
                    </a:lnTo>
                    <a:lnTo>
                      <a:pt x="95" y="36"/>
                    </a:lnTo>
                    <a:lnTo>
                      <a:pt x="98" y="25"/>
                    </a:lnTo>
                    <a:lnTo>
                      <a:pt x="98" y="20"/>
                    </a:lnTo>
                    <a:lnTo>
                      <a:pt x="99" y="19"/>
                    </a:lnTo>
                    <a:lnTo>
                      <a:pt x="101" y="18"/>
                    </a:lnTo>
                    <a:lnTo>
                      <a:pt x="104" y="13"/>
                    </a:lnTo>
                    <a:lnTo>
                      <a:pt x="108" y="7"/>
                    </a:lnTo>
                    <a:lnTo>
                      <a:pt x="109" y="7"/>
                    </a:lnTo>
                    <a:lnTo>
                      <a:pt x="112" y="7"/>
                    </a:lnTo>
                    <a:lnTo>
                      <a:pt x="115" y="7"/>
                    </a:lnTo>
                    <a:lnTo>
                      <a:pt x="119" y="8"/>
                    </a:lnTo>
                    <a:lnTo>
                      <a:pt x="119" y="8"/>
                    </a:lnTo>
                    <a:lnTo>
                      <a:pt x="120" y="7"/>
                    </a:lnTo>
                    <a:lnTo>
                      <a:pt x="123" y="5"/>
                    </a:lnTo>
                    <a:lnTo>
                      <a:pt x="127" y="1"/>
                    </a:lnTo>
                    <a:lnTo>
                      <a:pt x="130" y="0"/>
                    </a:lnTo>
                    <a:lnTo>
                      <a:pt x="133" y="0"/>
                    </a:lnTo>
                    <a:lnTo>
                      <a:pt x="136" y="4"/>
                    </a:lnTo>
                    <a:lnTo>
                      <a:pt x="140" y="9"/>
                    </a:lnTo>
                    <a:lnTo>
                      <a:pt x="143" y="12"/>
                    </a:lnTo>
                    <a:lnTo>
                      <a:pt x="149" y="16"/>
                    </a:lnTo>
                    <a:lnTo>
                      <a:pt x="155" y="20"/>
                    </a:lnTo>
                    <a:lnTo>
                      <a:pt x="159" y="30"/>
                    </a:lnTo>
                    <a:lnTo>
                      <a:pt x="158" y="34"/>
                    </a:lnTo>
                    <a:lnTo>
                      <a:pt x="156" y="36"/>
                    </a:lnTo>
                    <a:lnTo>
                      <a:pt x="154" y="40"/>
                    </a:lnTo>
                    <a:lnTo>
                      <a:pt x="149" y="46"/>
                    </a:lnTo>
                    <a:lnTo>
                      <a:pt x="149" y="48"/>
                    </a:lnTo>
                    <a:lnTo>
                      <a:pt x="151" y="51"/>
                    </a:lnTo>
                    <a:lnTo>
                      <a:pt x="152" y="54"/>
                    </a:lnTo>
                    <a:close/>
                    <a:moveTo>
                      <a:pt x="77" y="241"/>
                    </a:moveTo>
                    <a:lnTo>
                      <a:pt x="74" y="242"/>
                    </a:lnTo>
                    <a:lnTo>
                      <a:pt x="73" y="242"/>
                    </a:lnTo>
                    <a:lnTo>
                      <a:pt x="73" y="239"/>
                    </a:lnTo>
                    <a:lnTo>
                      <a:pt x="74" y="238"/>
                    </a:lnTo>
                    <a:lnTo>
                      <a:pt x="76" y="236"/>
                    </a:lnTo>
                    <a:lnTo>
                      <a:pt x="80" y="238"/>
                    </a:lnTo>
                    <a:lnTo>
                      <a:pt x="80" y="239"/>
                    </a:lnTo>
                    <a:lnTo>
                      <a:pt x="78" y="239"/>
                    </a:lnTo>
                    <a:lnTo>
                      <a:pt x="77" y="241"/>
                    </a:lnTo>
                    <a:close/>
                    <a:moveTo>
                      <a:pt x="12" y="313"/>
                    </a:moveTo>
                    <a:lnTo>
                      <a:pt x="12" y="314"/>
                    </a:lnTo>
                    <a:lnTo>
                      <a:pt x="13" y="314"/>
                    </a:lnTo>
                    <a:lnTo>
                      <a:pt x="14" y="313"/>
                    </a:lnTo>
                    <a:lnTo>
                      <a:pt x="16" y="313"/>
                    </a:lnTo>
                    <a:lnTo>
                      <a:pt x="16" y="316"/>
                    </a:lnTo>
                    <a:lnTo>
                      <a:pt x="14" y="316"/>
                    </a:lnTo>
                    <a:lnTo>
                      <a:pt x="14" y="314"/>
                    </a:lnTo>
                    <a:lnTo>
                      <a:pt x="13" y="316"/>
                    </a:lnTo>
                    <a:lnTo>
                      <a:pt x="13" y="317"/>
                    </a:lnTo>
                    <a:lnTo>
                      <a:pt x="12" y="317"/>
                    </a:lnTo>
                    <a:lnTo>
                      <a:pt x="10" y="316"/>
                    </a:lnTo>
                    <a:lnTo>
                      <a:pt x="9" y="312"/>
                    </a:lnTo>
                    <a:lnTo>
                      <a:pt x="12" y="312"/>
                    </a:lnTo>
                    <a:lnTo>
                      <a:pt x="12" y="313"/>
                    </a:lnTo>
                    <a:lnTo>
                      <a:pt x="12" y="313"/>
                    </a:lnTo>
                    <a:close/>
                    <a:moveTo>
                      <a:pt x="16" y="418"/>
                    </a:moveTo>
                    <a:lnTo>
                      <a:pt x="16" y="420"/>
                    </a:lnTo>
                    <a:lnTo>
                      <a:pt x="14" y="420"/>
                    </a:lnTo>
                    <a:lnTo>
                      <a:pt x="13" y="420"/>
                    </a:lnTo>
                    <a:lnTo>
                      <a:pt x="12" y="419"/>
                    </a:lnTo>
                    <a:lnTo>
                      <a:pt x="12" y="415"/>
                    </a:lnTo>
                    <a:lnTo>
                      <a:pt x="12" y="415"/>
                    </a:lnTo>
                    <a:lnTo>
                      <a:pt x="13" y="415"/>
                    </a:lnTo>
                    <a:lnTo>
                      <a:pt x="13" y="416"/>
                    </a:lnTo>
                    <a:lnTo>
                      <a:pt x="16" y="418"/>
                    </a:lnTo>
                    <a:close/>
                    <a:moveTo>
                      <a:pt x="26" y="426"/>
                    </a:moveTo>
                    <a:lnTo>
                      <a:pt x="24" y="426"/>
                    </a:lnTo>
                    <a:lnTo>
                      <a:pt x="23" y="423"/>
                    </a:lnTo>
                    <a:lnTo>
                      <a:pt x="23" y="423"/>
                    </a:lnTo>
                    <a:lnTo>
                      <a:pt x="23" y="423"/>
                    </a:lnTo>
                    <a:lnTo>
                      <a:pt x="23" y="420"/>
                    </a:lnTo>
                    <a:lnTo>
                      <a:pt x="23" y="420"/>
                    </a:lnTo>
                    <a:lnTo>
                      <a:pt x="24" y="422"/>
                    </a:lnTo>
                    <a:lnTo>
                      <a:pt x="26" y="423"/>
                    </a:lnTo>
                    <a:lnTo>
                      <a:pt x="24" y="423"/>
                    </a:lnTo>
                    <a:lnTo>
                      <a:pt x="26" y="425"/>
                    </a:lnTo>
                    <a:lnTo>
                      <a:pt x="26" y="426"/>
                    </a:lnTo>
                    <a:close/>
                    <a:moveTo>
                      <a:pt x="28" y="425"/>
                    </a:moveTo>
                    <a:lnTo>
                      <a:pt x="31" y="425"/>
                    </a:lnTo>
                    <a:lnTo>
                      <a:pt x="32" y="425"/>
                    </a:lnTo>
                    <a:lnTo>
                      <a:pt x="34" y="426"/>
                    </a:lnTo>
                    <a:lnTo>
                      <a:pt x="31" y="427"/>
                    </a:lnTo>
                    <a:lnTo>
                      <a:pt x="31" y="429"/>
                    </a:lnTo>
                    <a:lnTo>
                      <a:pt x="32" y="430"/>
                    </a:lnTo>
                    <a:lnTo>
                      <a:pt x="32" y="432"/>
                    </a:lnTo>
                    <a:lnTo>
                      <a:pt x="31" y="432"/>
                    </a:lnTo>
                    <a:lnTo>
                      <a:pt x="30" y="430"/>
                    </a:lnTo>
                    <a:lnTo>
                      <a:pt x="30" y="429"/>
                    </a:lnTo>
                    <a:lnTo>
                      <a:pt x="28" y="427"/>
                    </a:lnTo>
                    <a:lnTo>
                      <a:pt x="27" y="427"/>
                    </a:lnTo>
                    <a:lnTo>
                      <a:pt x="28" y="426"/>
                    </a:lnTo>
                    <a:lnTo>
                      <a:pt x="28" y="425"/>
                    </a:lnTo>
                    <a:lnTo>
                      <a:pt x="28" y="425"/>
                    </a:lnTo>
                    <a:close/>
                    <a:moveTo>
                      <a:pt x="23" y="433"/>
                    </a:moveTo>
                    <a:lnTo>
                      <a:pt x="21" y="434"/>
                    </a:lnTo>
                    <a:lnTo>
                      <a:pt x="20" y="433"/>
                    </a:lnTo>
                    <a:lnTo>
                      <a:pt x="20" y="432"/>
                    </a:lnTo>
                    <a:lnTo>
                      <a:pt x="21" y="430"/>
                    </a:lnTo>
                    <a:lnTo>
                      <a:pt x="23" y="430"/>
                    </a:lnTo>
                    <a:lnTo>
                      <a:pt x="23" y="433"/>
                    </a:lnTo>
                    <a:close/>
                    <a:moveTo>
                      <a:pt x="19" y="434"/>
                    </a:moveTo>
                    <a:lnTo>
                      <a:pt x="17" y="434"/>
                    </a:lnTo>
                    <a:lnTo>
                      <a:pt x="16" y="433"/>
                    </a:lnTo>
                    <a:lnTo>
                      <a:pt x="17" y="432"/>
                    </a:lnTo>
                    <a:lnTo>
                      <a:pt x="19" y="432"/>
                    </a:lnTo>
                    <a:lnTo>
                      <a:pt x="19" y="432"/>
                    </a:lnTo>
                    <a:lnTo>
                      <a:pt x="20" y="433"/>
                    </a:lnTo>
                    <a:lnTo>
                      <a:pt x="19" y="434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54" name="Faroe Islands">
                <a:extLst>
                  <a:ext uri="{FF2B5EF4-FFF2-40B4-BE49-F238E27FC236}">
                    <a16:creationId xmlns:a16="http://schemas.microsoft.com/office/drawing/2014/main" id="{CD7C4326-474C-DE3C-0ED4-57C7CE8917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1272" y="2390714"/>
                <a:ext cx="14078" cy="28937"/>
              </a:xfrm>
              <a:custGeom>
                <a:avLst/>
                <a:gdLst>
                  <a:gd name="T0" fmla="*/ 18 w 18"/>
                  <a:gd name="T1" fmla="*/ 3 h 37"/>
                  <a:gd name="T2" fmla="*/ 17 w 18"/>
                  <a:gd name="T3" fmla="*/ 6 h 37"/>
                  <a:gd name="T4" fmla="*/ 15 w 18"/>
                  <a:gd name="T5" fmla="*/ 6 h 37"/>
                  <a:gd name="T6" fmla="*/ 15 w 18"/>
                  <a:gd name="T7" fmla="*/ 6 h 37"/>
                  <a:gd name="T8" fmla="*/ 15 w 18"/>
                  <a:gd name="T9" fmla="*/ 4 h 37"/>
                  <a:gd name="T10" fmla="*/ 15 w 18"/>
                  <a:gd name="T11" fmla="*/ 3 h 37"/>
                  <a:gd name="T12" fmla="*/ 15 w 18"/>
                  <a:gd name="T13" fmla="*/ 0 h 37"/>
                  <a:gd name="T14" fmla="*/ 17 w 18"/>
                  <a:gd name="T15" fmla="*/ 3 h 37"/>
                  <a:gd name="T16" fmla="*/ 18 w 18"/>
                  <a:gd name="T17" fmla="*/ 3 h 37"/>
                  <a:gd name="T18" fmla="*/ 14 w 18"/>
                  <a:gd name="T19" fmla="*/ 4 h 37"/>
                  <a:gd name="T20" fmla="*/ 14 w 18"/>
                  <a:gd name="T21" fmla="*/ 10 h 37"/>
                  <a:gd name="T22" fmla="*/ 13 w 18"/>
                  <a:gd name="T23" fmla="*/ 10 h 37"/>
                  <a:gd name="T24" fmla="*/ 11 w 18"/>
                  <a:gd name="T25" fmla="*/ 9 h 37"/>
                  <a:gd name="T26" fmla="*/ 10 w 18"/>
                  <a:gd name="T27" fmla="*/ 9 h 37"/>
                  <a:gd name="T28" fmla="*/ 10 w 18"/>
                  <a:gd name="T29" fmla="*/ 9 h 37"/>
                  <a:gd name="T30" fmla="*/ 10 w 18"/>
                  <a:gd name="T31" fmla="*/ 10 h 37"/>
                  <a:gd name="T32" fmla="*/ 11 w 18"/>
                  <a:gd name="T33" fmla="*/ 10 h 37"/>
                  <a:gd name="T34" fmla="*/ 13 w 18"/>
                  <a:gd name="T35" fmla="*/ 14 h 37"/>
                  <a:gd name="T36" fmla="*/ 13 w 18"/>
                  <a:gd name="T37" fmla="*/ 16 h 37"/>
                  <a:gd name="T38" fmla="*/ 13 w 18"/>
                  <a:gd name="T39" fmla="*/ 16 h 37"/>
                  <a:gd name="T40" fmla="*/ 11 w 18"/>
                  <a:gd name="T41" fmla="*/ 14 h 37"/>
                  <a:gd name="T42" fmla="*/ 7 w 18"/>
                  <a:gd name="T43" fmla="*/ 10 h 37"/>
                  <a:gd name="T44" fmla="*/ 4 w 18"/>
                  <a:gd name="T45" fmla="*/ 3 h 37"/>
                  <a:gd name="T46" fmla="*/ 8 w 18"/>
                  <a:gd name="T47" fmla="*/ 2 h 37"/>
                  <a:gd name="T48" fmla="*/ 11 w 18"/>
                  <a:gd name="T49" fmla="*/ 3 h 37"/>
                  <a:gd name="T50" fmla="*/ 14 w 18"/>
                  <a:gd name="T51" fmla="*/ 4 h 37"/>
                  <a:gd name="T52" fmla="*/ 4 w 18"/>
                  <a:gd name="T53" fmla="*/ 9 h 37"/>
                  <a:gd name="T54" fmla="*/ 6 w 18"/>
                  <a:gd name="T55" fmla="*/ 10 h 37"/>
                  <a:gd name="T56" fmla="*/ 6 w 18"/>
                  <a:gd name="T57" fmla="*/ 11 h 37"/>
                  <a:gd name="T58" fmla="*/ 6 w 18"/>
                  <a:gd name="T59" fmla="*/ 11 h 37"/>
                  <a:gd name="T60" fmla="*/ 4 w 18"/>
                  <a:gd name="T61" fmla="*/ 13 h 37"/>
                  <a:gd name="T62" fmla="*/ 3 w 18"/>
                  <a:gd name="T63" fmla="*/ 11 h 37"/>
                  <a:gd name="T64" fmla="*/ 0 w 18"/>
                  <a:gd name="T65" fmla="*/ 11 h 37"/>
                  <a:gd name="T66" fmla="*/ 0 w 18"/>
                  <a:gd name="T67" fmla="*/ 9 h 37"/>
                  <a:gd name="T68" fmla="*/ 1 w 18"/>
                  <a:gd name="T69" fmla="*/ 9 h 37"/>
                  <a:gd name="T70" fmla="*/ 3 w 18"/>
                  <a:gd name="T71" fmla="*/ 7 h 37"/>
                  <a:gd name="T72" fmla="*/ 4 w 18"/>
                  <a:gd name="T73" fmla="*/ 9 h 37"/>
                  <a:gd name="T74" fmla="*/ 14 w 18"/>
                  <a:gd name="T75" fmla="*/ 21 h 37"/>
                  <a:gd name="T76" fmla="*/ 14 w 18"/>
                  <a:gd name="T77" fmla="*/ 23 h 37"/>
                  <a:gd name="T78" fmla="*/ 13 w 18"/>
                  <a:gd name="T79" fmla="*/ 23 h 37"/>
                  <a:gd name="T80" fmla="*/ 11 w 18"/>
                  <a:gd name="T81" fmla="*/ 21 h 37"/>
                  <a:gd name="T82" fmla="*/ 10 w 18"/>
                  <a:gd name="T83" fmla="*/ 20 h 37"/>
                  <a:gd name="T84" fmla="*/ 10 w 18"/>
                  <a:gd name="T85" fmla="*/ 18 h 37"/>
                  <a:gd name="T86" fmla="*/ 10 w 18"/>
                  <a:gd name="T87" fmla="*/ 17 h 37"/>
                  <a:gd name="T88" fmla="*/ 10 w 18"/>
                  <a:gd name="T89" fmla="*/ 17 h 37"/>
                  <a:gd name="T90" fmla="*/ 11 w 18"/>
                  <a:gd name="T91" fmla="*/ 18 h 37"/>
                  <a:gd name="T92" fmla="*/ 14 w 18"/>
                  <a:gd name="T93" fmla="*/ 18 h 37"/>
                  <a:gd name="T94" fmla="*/ 14 w 18"/>
                  <a:gd name="T95" fmla="*/ 20 h 37"/>
                  <a:gd name="T96" fmla="*/ 14 w 18"/>
                  <a:gd name="T97" fmla="*/ 21 h 37"/>
                  <a:gd name="T98" fmla="*/ 13 w 18"/>
                  <a:gd name="T99" fmla="*/ 35 h 37"/>
                  <a:gd name="T100" fmla="*/ 13 w 18"/>
                  <a:gd name="T101" fmla="*/ 37 h 37"/>
                  <a:gd name="T102" fmla="*/ 13 w 18"/>
                  <a:gd name="T103" fmla="*/ 37 h 37"/>
                  <a:gd name="T104" fmla="*/ 11 w 18"/>
                  <a:gd name="T105" fmla="*/ 35 h 37"/>
                  <a:gd name="T106" fmla="*/ 10 w 18"/>
                  <a:gd name="T107" fmla="*/ 31 h 37"/>
                  <a:gd name="T108" fmla="*/ 8 w 18"/>
                  <a:gd name="T109" fmla="*/ 30 h 37"/>
                  <a:gd name="T110" fmla="*/ 8 w 18"/>
                  <a:gd name="T111" fmla="*/ 28 h 37"/>
                  <a:gd name="T112" fmla="*/ 8 w 18"/>
                  <a:gd name="T113" fmla="*/ 28 h 37"/>
                  <a:gd name="T114" fmla="*/ 10 w 18"/>
                  <a:gd name="T115" fmla="*/ 30 h 37"/>
                  <a:gd name="T116" fmla="*/ 11 w 18"/>
                  <a:gd name="T117" fmla="*/ 30 h 37"/>
                  <a:gd name="T118" fmla="*/ 13 w 18"/>
                  <a:gd name="T119" fmla="*/ 30 h 37"/>
                  <a:gd name="T120" fmla="*/ 13 w 18"/>
                  <a:gd name="T121" fmla="*/ 31 h 37"/>
                  <a:gd name="T122" fmla="*/ 13 w 18"/>
                  <a:gd name="T123" fmla="*/ 32 h 37"/>
                  <a:gd name="T124" fmla="*/ 13 w 18"/>
                  <a:gd name="T125" fmla="*/ 3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" h="37">
                    <a:moveTo>
                      <a:pt x="18" y="3"/>
                    </a:moveTo>
                    <a:lnTo>
                      <a:pt x="17" y="6"/>
                    </a:lnTo>
                    <a:lnTo>
                      <a:pt x="15" y="6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5" y="3"/>
                    </a:lnTo>
                    <a:lnTo>
                      <a:pt x="15" y="0"/>
                    </a:lnTo>
                    <a:lnTo>
                      <a:pt x="17" y="3"/>
                    </a:lnTo>
                    <a:lnTo>
                      <a:pt x="18" y="3"/>
                    </a:lnTo>
                    <a:close/>
                    <a:moveTo>
                      <a:pt x="14" y="4"/>
                    </a:moveTo>
                    <a:lnTo>
                      <a:pt x="14" y="10"/>
                    </a:lnTo>
                    <a:lnTo>
                      <a:pt x="13" y="10"/>
                    </a:lnTo>
                    <a:lnTo>
                      <a:pt x="11" y="9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10"/>
                    </a:lnTo>
                    <a:lnTo>
                      <a:pt x="11" y="10"/>
                    </a:lnTo>
                    <a:lnTo>
                      <a:pt x="13" y="14"/>
                    </a:lnTo>
                    <a:lnTo>
                      <a:pt x="13" y="16"/>
                    </a:lnTo>
                    <a:lnTo>
                      <a:pt x="13" y="16"/>
                    </a:lnTo>
                    <a:lnTo>
                      <a:pt x="11" y="14"/>
                    </a:lnTo>
                    <a:lnTo>
                      <a:pt x="7" y="10"/>
                    </a:lnTo>
                    <a:lnTo>
                      <a:pt x="4" y="3"/>
                    </a:lnTo>
                    <a:lnTo>
                      <a:pt x="8" y="2"/>
                    </a:lnTo>
                    <a:lnTo>
                      <a:pt x="11" y="3"/>
                    </a:lnTo>
                    <a:lnTo>
                      <a:pt x="14" y="4"/>
                    </a:lnTo>
                    <a:close/>
                    <a:moveTo>
                      <a:pt x="4" y="9"/>
                    </a:moveTo>
                    <a:lnTo>
                      <a:pt x="6" y="10"/>
                    </a:lnTo>
                    <a:lnTo>
                      <a:pt x="6" y="11"/>
                    </a:lnTo>
                    <a:lnTo>
                      <a:pt x="6" y="11"/>
                    </a:lnTo>
                    <a:lnTo>
                      <a:pt x="4" y="13"/>
                    </a:lnTo>
                    <a:lnTo>
                      <a:pt x="3" y="11"/>
                    </a:lnTo>
                    <a:lnTo>
                      <a:pt x="0" y="11"/>
                    </a:lnTo>
                    <a:lnTo>
                      <a:pt x="0" y="9"/>
                    </a:lnTo>
                    <a:lnTo>
                      <a:pt x="1" y="9"/>
                    </a:lnTo>
                    <a:lnTo>
                      <a:pt x="3" y="7"/>
                    </a:lnTo>
                    <a:lnTo>
                      <a:pt x="4" y="9"/>
                    </a:lnTo>
                    <a:close/>
                    <a:moveTo>
                      <a:pt x="14" y="21"/>
                    </a:moveTo>
                    <a:lnTo>
                      <a:pt x="14" y="23"/>
                    </a:lnTo>
                    <a:lnTo>
                      <a:pt x="13" y="23"/>
                    </a:lnTo>
                    <a:lnTo>
                      <a:pt x="11" y="21"/>
                    </a:lnTo>
                    <a:lnTo>
                      <a:pt x="10" y="20"/>
                    </a:lnTo>
                    <a:lnTo>
                      <a:pt x="10" y="18"/>
                    </a:lnTo>
                    <a:lnTo>
                      <a:pt x="10" y="17"/>
                    </a:lnTo>
                    <a:lnTo>
                      <a:pt x="10" y="17"/>
                    </a:lnTo>
                    <a:lnTo>
                      <a:pt x="11" y="18"/>
                    </a:lnTo>
                    <a:lnTo>
                      <a:pt x="14" y="18"/>
                    </a:lnTo>
                    <a:lnTo>
                      <a:pt x="14" y="20"/>
                    </a:lnTo>
                    <a:lnTo>
                      <a:pt x="14" y="21"/>
                    </a:lnTo>
                    <a:close/>
                    <a:moveTo>
                      <a:pt x="13" y="35"/>
                    </a:moveTo>
                    <a:lnTo>
                      <a:pt x="13" y="37"/>
                    </a:lnTo>
                    <a:lnTo>
                      <a:pt x="13" y="37"/>
                    </a:lnTo>
                    <a:lnTo>
                      <a:pt x="11" y="35"/>
                    </a:lnTo>
                    <a:lnTo>
                      <a:pt x="10" y="31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0" y="30"/>
                    </a:lnTo>
                    <a:lnTo>
                      <a:pt x="11" y="30"/>
                    </a:lnTo>
                    <a:lnTo>
                      <a:pt x="13" y="30"/>
                    </a:lnTo>
                    <a:lnTo>
                      <a:pt x="13" y="31"/>
                    </a:lnTo>
                    <a:lnTo>
                      <a:pt x="13" y="32"/>
                    </a:lnTo>
                    <a:lnTo>
                      <a:pt x="13" y="35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55" name="France">
                <a:extLst>
                  <a:ext uri="{FF2B5EF4-FFF2-40B4-BE49-F238E27FC236}">
                    <a16:creationId xmlns:a16="http://schemas.microsoft.com/office/drawing/2014/main" id="{2B7293BE-3A71-4045-8698-6BF4F3E3EC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8030" y="2683999"/>
                <a:ext cx="204127" cy="199435"/>
              </a:xfrm>
              <a:custGeom>
                <a:avLst/>
                <a:gdLst>
                  <a:gd name="T0" fmla="*/ 148 w 261"/>
                  <a:gd name="T1" fmla="*/ 17 h 255"/>
                  <a:gd name="T2" fmla="*/ 159 w 261"/>
                  <a:gd name="T3" fmla="*/ 22 h 255"/>
                  <a:gd name="T4" fmla="*/ 162 w 261"/>
                  <a:gd name="T5" fmla="*/ 32 h 255"/>
                  <a:gd name="T6" fmla="*/ 174 w 261"/>
                  <a:gd name="T7" fmla="*/ 27 h 255"/>
                  <a:gd name="T8" fmla="*/ 181 w 261"/>
                  <a:gd name="T9" fmla="*/ 41 h 255"/>
                  <a:gd name="T10" fmla="*/ 193 w 261"/>
                  <a:gd name="T11" fmla="*/ 46 h 255"/>
                  <a:gd name="T12" fmla="*/ 202 w 261"/>
                  <a:gd name="T13" fmla="*/ 48 h 255"/>
                  <a:gd name="T14" fmla="*/ 212 w 261"/>
                  <a:gd name="T15" fmla="*/ 55 h 255"/>
                  <a:gd name="T16" fmla="*/ 222 w 261"/>
                  <a:gd name="T17" fmla="*/ 56 h 255"/>
                  <a:gd name="T18" fmla="*/ 232 w 261"/>
                  <a:gd name="T19" fmla="*/ 68 h 255"/>
                  <a:gd name="T20" fmla="*/ 225 w 261"/>
                  <a:gd name="T21" fmla="*/ 96 h 255"/>
                  <a:gd name="T22" fmla="*/ 218 w 261"/>
                  <a:gd name="T23" fmla="*/ 100 h 255"/>
                  <a:gd name="T24" fmla="*/ 213 w 261"/>
                  <a:gd name="T25" fmla="*/ 106 h 255"/>
                  <a:gd name="T26" fmla="*/ 200 w 261"/>
                  <a:gd name="T27" fmla="*/ 124 h 255"/>
                  <a:gd name="T28" fmla="*/ 195 w 261"/>
                  <a:gd name="T29" fmla="*/ 135 h 255"/>
                  <a:gd name="T30" fmla="*/ 207 w 261"/>
                  <a:gd name="T31" fmla="*/ 128 h 255"/>
                  <a:gd name="T32" fmla="*/ 213 w 261"/>
                  <a:gd name="T33" fmla="*/ 140 h 255"/>
                  <a:gd name="T34" fmla="*/ 215 w 261"/>
                  <a:gd name="T35" fmla="*/ 153 h 255"/>
                  <a:gd name="T36" fmla="*/ 209 w 261"/>
                  <a:gd name="T37" fmla="*/ 162 h 255"/>
                  <a:gd name="T38" fmla="*/ 215 w 261"/>
                  <a:gd name="T39" fmla="*/ 170 h 255"/>
                  <a:gd name="T40" fmla="*/ 212 w 261"/>
                  <a:gd name="T41" fmla="*/ 183 h 255"/>
                  <a:gd name="T42" fmla="*/ 225 w 261"/>
                  <a:gd name="T43" fmla="*/ 192 h 255"/>
                  <a:gd name="T44" fmla="*/ 222 w 261"/>
                  <a:gd name="T45" fmla="*/ 198 h 255"/>
                  <a:gd name="T46" fmla="*/ 198 w 261"/>
                  <a:gd name="T47" fmla="*/ 215 h 255"/>
                  <a:gd name="T48" fmla="*/ 179 w 261"/>
                  <a:gd name="T49" fmla="*/ 205 h 255"/>
                  <a:gd name="T50" fmla="*/ 168 w 261"/>
                  <a:gd name="T51" fmla="*/ 205 h 255"/>
                  <a:gd name="T52" fmla="*/ 147 w 261"/>
                  <a:gd name="T53" fmla="*/ 212 h 255"/>
                  <a:gd name="T54" fmla="*/ 140 w 261"/>
                  <a:gd name="T55" fmla="*/ 230 h 255"/>
                  <a:gd name="T56" fmla="*/ 126 w 261"/>
                  <a:gd name="T57" fmla="*/ 231 h 255"/>
                  <a:gd name="T58" fmla="*/ 119 w 261"/>
                  <a:gd name="T59" fmla="*/ 226 h 255"/>
                  <a:gd name="T60" fmla="*/ 101 w 261"/>
                  <a:gd name="T61" fmla="*/ 220 h 255"/>
                  <a:gd name="T62" fmla="*/ 91 w 261"/>
                  <a:gd name="T63" fmla="*/ 223 h 255"/>
                  <a:gd name="T64" fmla="*/ 77 w 261"/>
                  <a:gd name="T65" fmla="*/ 222 h 255"/>
                  <a:gd name="T66" fmla="*/ 63 w 261"/>
                  <a:gd name="T67" fmla="*/ 213 h 255"/>
                  <a:gd name="T68" fmla="*/ 62 w 261"/>
                  <a:gd name="T69" fmla="*/ 211 h 255"/>
                  <a:gd name="T70" fmla="*/ 63 w 261"/>
                  <a:gd name="T71" fmla="*/ 191 h 255"/>
                  <a:gd name="T72" fmla="*/ 67 w 261"/>
                  <a:gd name="T73" fmla="*/ 152 h 255"/>
                  <a:gd name="T74" fmla="*/ 73 w 261"/>
                  <a:gd name="T75" fmla="*/ 153 h 255"/>
                  <a:gd name="T76" fmla="*/ 67 w 261"/>
                  <a:gd name="T77" fmla="*/ 135 h 255"/>
                  <a:gd name="T78" fmla="*/ 49 w 261"/>
                  <a:gd name="T79" fmla="*/ 116 h 255"/>
                  <a:gd name="T80" fmla="*/ 56 w 261"/>
                  <a:gd name="T81" fmla="*/ 107 h 255"/>
                  <a:gd name="T82" fmla="*/ 39 w 261"/>
                  <a:gd name="T83" fmla="*/ 99 h 255"/>
                  <a:gd name="T84" fmla="*/ 28 w 261"/>
                  <a:gd name="T85" fmla="*/ 95 h 255"/>
                  <a:gd name="T86" fmla="*/ 7 w 261"/>
                  <a:gd name="T87" fmla="*/ 88 h 255"/>
                  <a:gd name="T88" fmla="*/ 5 w 261"/>
                  <a:gd name="T89" fmla="*/ 78 h 255"/>
                  <a:gd name="T90" fmla="*/ 0 w 261"/>
                  <a:gd name="T91" fmla="*/ 75 h 255"/>
                  <a:gd name="T92" fmla="*/ 32 w 261"/>
                  <a:gd name="T93" fmla="*/ 66 h 255"/>
                  <a:gd name="T94" fmla="*/ 62 w 261"/>
                  <a:gd name="T95" fmla="*/ 70 h 255"/>
                  <a:gd name="T96" fmla="*/ 56 w 261"/>
                  <a:gd name="T97" fmla="*/ 41 h 255"/>
                  <a:gd name="T98" fmla="*/ 78 w 261"/>
                  <a:gd name="T99" fmla="*/ 50 h 255"/>
                  <a:gd name="T100" fmla="*/ 91 w 261"/>
                  <a:gd name="T101" fmla="*/ 41 h 255"/>
                  <a:gd name="T102" fmla="*/ 116 w 261"/>
                  <a:gd name="T103" fmla="*/ 9 h 255"/>
                  <a:gd name="T104" fmla="*/ 134 w 261"/>
                  <a:gd name="T105" fmla="*/ 7 h 255"/>
                  <a:gd name="T106" fmla="*/ 62 w 261"/>
                  <a:gd name="T107" fmla="*/ 138 h 255"/>
                  <a:gd name="T108" fmla="*/ 258 w 261"/>
                  <a:gd name="T109" fmla="*/ 241 h 255"/>
                  <a:gd name="T110" fmla="*/ 247 w 261"/>
                  <a:gd name="T111" fmla="*/ 251 h 255"/>
                  <a:gd name="T112" fmla="*/ 244 w 261"/>
                  <a:gd name="T113" fmla="*/ 243 h 255"/>
                  <a:gd name="T114" fmla="*/ 244 w 261"/>
                  <a:gd name="T115" fmla="*/ 233 h 255"/>
                  <a:gd name="T116" fmla="*/ 254 w 261"/>
                  <a:gd name="T117" fmla="*/ 223 h 255"/>
                  <a:gd name="T118" fmla="*/ 259 w 261"/>
                  <a:gd name="T119" fmla="*/ 216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61" h="255">
                    <a:moveTo>
                      <a:pt x="140" y="11"/>
                    </a:moveTo>
                    <a:lnTo>
                      <a:pt x="140" y="11"/>
                    </a:lnTo>
                    <a:lnTo>
                      <a:pt x="142" y="10"/>
                    </a:lnTo>
                    <a:lnTo>
                      <a:pt x="144" y="10"/>
                    </a:lnTo>
                    <a:lnTo>
                      <a:pt x="145" y="10"/>
                    </a:lnTo>
                    <a:lnTo>
                      <a:pt x="145" y="11"/>
                    </a:lnTo>
                    <a:lnTo>
                      <a:pt x="147" y="13"/>
                    </a:lnTo>
                    <a:lnTo>
                      <a:pt x="147" y="15"/>
                    </a:lnTo>
                    <a:lnTo>
                      <a:pt x="147" y="17"/>
                    </a:lnTo>
                    <a:lnTo>
                      <a:pt x="148" y="17"/>
                    </a:lnTo>
                    <a:lnTo>
                      <a:pt x="151" y="17"/>
                    </a:lnTo>
                    <a:lnTo>
                      <a:pt x="152" y="18"/>
                    </a:lnTo>
                    <a:lnTo>
                      <a:pt x="154" y="18"/>
                    </a:lnTo>
                    <a:lnTo>
                      <a:pt x="154" y="22"/>
                    </a:lnTo>
                    <a:lnTo>
                      <a:pt x="154" y="22"/>
                    </a:lnTo>
                    <a:lnTo>
                      <a:pt x="155" y="22"/>
                    </a:lnTo>
                    <a:lnTo>
                      <a:pt x="155" y="22"/>
                    </a:lnTo>
                    <a:lnTo>
                      <a:pt x="156" y="22"/>
                    </a:lnTo>
                    <a:lnTo>
                      <a:pt x="158" y="22"/>
                    </a:lnTo>
                    <a:lnTo>
                      <a:pt x="159" y="22"/>
                    </a:lnTo>
                    <a:lnTo>
                      <a:pt x="161" y="22"/>
                    </a:lnTo>
                    <a:lnTo>
                      <a:pt x="163" y="25"/>
                    </a:lnTo>
                    <a:lnTo>
                      <a:pt x="163" y="25"/>
                    </a:lnTo>
                    <a:lnTo>
                      <a:pt x="162" y="27"/>
                    </a:lnTo>
                    <a:lnTo>
                      <a:pt x="162" y="28"/>
                    </a:lnTo>
                    <a:lnTo>
                      <a:pt x="163" y="28"/>
                    </a:lnTo>
                    <a:lnTo>
                      <a:pt x="163" y="29"/>
                    </a:lnTo>
                    <a:lnTo>
                      <a:pt x="163" y="31"/>
                    </a:lnTo>
                    <a:lnTo>
                      <a:pt x="162" y="31"/>
                    </a:lnTo>
                    <a:lnTo>
                      <a:pt x="162" y="32"/>
                    </a:lnTo>
                    <a:lnTo>
                      <a:pt x="162" y="32"/>
                    </a:lnTo>
                    <a:lnTo>
                      <a:pt x="162" y="32"/>
                    </a:lnTo>
                    <a:lnTo>
                      <a:pt x="163" y="32"/>
                    </a:lnTo>
                    <a:lnTo>
                      <a:pt x="166" y="34"/>
                    </a:lnTo>
                    <a:lnTo>
                      <a:pt x="170" y="32"/>
                    </a:lnTo>
                    <a:lnTo>
                      <a:pt x="172" y="32"/>
                    </a:lnTo>
                    <a:lnTo>
                      <a:pt x="172" y="31"/>
                    </a:lnTo>
                    <a:lnTo>
                      <a:pt x="173" y="29"/>
                    </a:lnTo>
                    <a:lnTo>
                      <a:pt x="174" y="28"/>
                    </a:lnTo>
                    <a:lnTo>
                      <a:pt x="174" y="27"/>
                    </a:lnTo>
                    <a:lnTo>
                      <a:pt x="176" y="28"/>
                    </a:lnTo>
                    <a:lnTo>
                      <a:pt x="174" y="32"/>
                    </a:lnTo>
                    <a:lnTo>
                      <a:pt x="176" y="34"/>
                    </a:lnTo>
                    <a:lnTo>
                      <a:pt x="176" y="36"/>
                    </a:lnTo>
                    <a:lnTo>
                      <a:pt x="176" y="38"/>
                    </a:lnTo>
                    <a:lnTo>
                      <a:pt x="177" y="38"/>
                    </a:lnTo>
                    <a:lnTo>
                      <a:pt x="179" y="38"/>
                    </a:lnTo>
                    <a:lnTo>
                      <a:pt x="179" y="38"/>
                    </a:lnTo>
                    <a:lnTo>
                      <a:pt x="180" y="39"/>
                    </a:lnTo>
                    <a:lnTo>
                      <a:pt x="181" y="41"/>
                    </a:lnTo>
                    <a:lnTo>
                      <a:pt x="183" y="41"/>
                    </a:lnTo>
                    <a:lnTo>
                      <a:pt x="184" y="42"/>
                    </a:lnTo>
                    <a:lnTo>
                      <a:pt x="184" y="42"/>
                    </a:lnTo>
                    <a:lnTo>
                      <a:pt x="186" y="45"/>
                    </a:lnTo>
                    <a:lnTo>
                      <a:pt x="187" y="45"/>
                    </a:lnTo>
                    <a:lnTo>
                      <a:pt x="188" y="45"/>
                    </a:lnTo>
                    <a:lnTo>
                      <a:pt x="190" y="45"/>
                    </a:lnTo>
                    <a:lnTo>
                      <a:pt x="191" y="45"/>
                    </a:lnTo>
                    <a:lnTo>
                      <a:pt x="193" y="45"/>
                    </a:lnTo>
                    <a:lnTo>
                      <a:pt x="193" y="46"/>
                    </a:lnTo>
                    <a:lnTo>
                      <a:pt x="194" y="46"/>
                    </a:lnTo>
                    <a:lnTo>
                      <a:pt x="195" y="46"/>
                    </a:lnTo>
                    <a:lnTo>
                      <a:pt x="195" y="48"/>
                    </a:lnTo>
                    <a:lnTo>
                      <a:pt x="197" y="48"/>
                    </a:lnTo>
                    <a:lnTo>
                      <a:pt x="198" y="48"/>
                    </a:lnTo>
                    <a:lnTo>
                      <a:pt x="198" y="46"/>
                    </a:lnTo>
                    <a:lnTo>
                      <a:pt x="200" y="46"/>
                    </a:lnTo>
                    <a:lnTo>
                      <a:pt x="201" y="46"/>
                    </a:lnTo>
                    <a:lnTo>
                      <a:pt x="201" y="46"/>
                    </a:lnTo>
                    <a:lnTo>
                      <a:pt x="202" y="48"/>
                    </a:lnTo>
                    <a:lnTo>
                      <a:pt x="204" y="46"/>
                    </a:lnTo>
                    <a:lnTo>
                      <a:pt x="205" y="48"/>
                    </a:lnTo>
                    <a:lnTo>
                      <a:pt x="207" y="49"/>
                    </a:lnTo>
                    <a:lnTo>
                      <a:pt x="207" y="50"/>
                    </a:lnTo>
                    <a:lnTo>
                      <a:pt x="207" y="50"/>
                    </a:lnTo>
                    <a:lnTo>
                      <a:pt x="208" y="52"/>
                    </a:lnTo>
                    <a:lnTo>
                      <a:pt x="209" y="55"/>
                    </a:lnTo>
                    <a:lnTo>
                      <a:pt x="211" y="56"/>
                    </a:lnTo>
                    <a:lnTo>
                      <a:pt x="211" y="55"/>
                    </a:lnTo>
                    <a:lnTo>
                      <a:pt x="212" y="55"/>
                    </a:lnTo>
                    <a:lnTo>
                      <a:pt x="212" y="53"/>
                    </a:lnTo>
                    <a:lnTo>
                      <a:pt x="213" y="55"/>
                    </a:lnTo>
                    <a:lnTo>
                      <a:pt x="215" y="55"/>
                    </a:lnTo>
                    <a:lnTo>
                      <a:pt x="215" y="56"/>
                    </a:lnTo>
                    <a:lnTo>
                      <a:pt x="215" y="56"/>
                    </a:lnTo>
                    <a:lnTo>
                      <a:pt x="215" y="56"/>
                    </a:lnTo>
                    <a:lnTo>
                      <a:pt x="216" y="56"/>
                    </a:lnTo>
                    <a:lnTo>
                      <a:pt x="218" y="56"/>
                    </a:lnTo>
                    <a:lnTo>
                      <a:pt x="220" y="56"/>
                    </a:lnTo>
                    <a:lnTo>
                      <a:pt x="222" y="56"/>
                    </a:lnTo>
                    <a:lnTo>
                      <a:pt x="223" y="56"/>
                    </a:lnTo>
                    <a:lnTo>
                      <a:pt x="223" y="57"/>
                    </a:lnTo>
                    <a:lnTo>
                      <a:pt x="226" y="57"/>
                    </a:lnTo>
                    <a:lnTo>
                      <a:pt x="229" y="59"/>
                    </a:lnTo>
                    <a:lnTo>
                      <a:pt x="233" y="59"/>
                    </a:lnTo>
                    <a:lnTo>
                      <a:pt x="234" y="60"/>
                    </a:lnTo>
                    <a:lnTo>
                      <a:pt x="234" y="60"/>
                    </a:lnTo>
                    <a:lnTo>
                      <a:pt x="236" y="63"/>
                    </a:lnTo>
                    <a:lnTo>
                      <a:pt x="234" y="63"/>
                    </a:lnTo>
                    <a:lnTo>
                      <a:pt x="232" y="68"/>
                    </a:lnTo>
                    <a:lnTo>
                      <a:pt x="230" y="70"/>
                    </a:lnTo>
                    <a:lnTo>
                      <a:pt x="229" y="73"/>
                    </a:lnTo>
                    <a:lnTo>
                      <a:pt x="229" y="75"/>
                    </a:lnTo>
                    <a:lnTo>
                      <a:pt x="227" y="80"/>
                    </a:lnTo>
                    <a:lnTo>
                      <a:pt x="226" y="82"/>
                    </a:lnTo>
                    <a:lnTo>
                      <a:pt x="225" y="85"/>
                    </a:lnTo>
                    <a:lnTo>
                      <a:pt x="226" y="87"/>
                    </a:lnTo>
                    <a:lnTo>
                      <a:pt x="225" y="89"/>
                    </a:lnTo>
                    <a:lnTo>
                      <a:pt x="225" y="94"/>
                    </a:lnTo>
                    <a:lnTo>
                      <a:pt x="225" y="96"/>
                    </a:lnTo>
                    <a:lnTo>
                      <a:pt x="225" y="98"/>
                    </a:lnTo>
                    <a:lnTo>
                      <a:pt x="226" y="98"/>
                    </a:lnTo>
                    <a:lnTo>
                      <a:pt x="223" y="99"/>
                    </a:lnTo>
                    <a:lnTo>
                      <a:pt x="223" y="100"/>
                    </a:lnTo>
                    <a:lnTo>
                      <a:pt x="222" y="102"/>
                    </a:lnTo>
                    <a:lnTo>
                      <a:pt x="220" y="102"/>
                    </a:lnTo>
                    <a:lnTo>
                      <a:pt x="219" y="102"/>
                    </a:lnTo>
                    <a:lnTo>
                      <a:pt x="218" y="102"/>
                    </a:lnTo>
                    <a:lnTo>
                      <a:pt x="218" y="102"/>
                    </a:lnTo>
                    <a:lnTo>
                      <a:pt x="218" y="100"/>
                    </a:lnTo>
                    <a:lnTo>
                      <a:pt x="216" y="100"/>
                    </a:lnTo>
                    <a:lnTo>
                      <a:pt x="215" y="100"/>
                    </a:lnTo>
                    <a:lnTo>
                      <a:pt x="213" y="102"/>
                    </a:lnTo>
                    <a:lnTo>
                      <a:pt x="212" y="103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5" y="105"/>
                    </a:lnTo>
                    <a:lnTo>
                      <a:pt x="215" y="105"/>
                    </a:lnTo>
                    <a:lnTo>
                      <a:pt x="213" y="106"/>
                    </a:lnTo>
                    <a:lnTo>
                      <a:pt x="213" y="106"/>
                    </a:lnTo>
                    <a:lnTo>
                      <a:pt x="211" y="109"/>
                    </a:lnTo>
                    <a:lnTo>
                      <a:pt x="209" y="112"/>
                    </a:lnTo>
                    <a:lnTo>
                      <a:pt x="208" y="113"/>
                    </a:lnTo>
                    <a:lnTo>
                      <a:pt x="208" y="113"/>
                    </a:lnTo>
                    <a:lnTo>
                      <a:pt x="205" y="114"/>
                    </a:lnTo>
                    <a:lnTo>
                      <a:pt x="204" y="116"/>
                    </a:lnTo>
                    <a:lnTo>
                      <a:pt x="204" y="119"/>
                    </a:lnTo>
                    <a:lnTo>
                      <a:pt x="204" y="120"/>
                    </a:lnTo>
                    <a:lnTo>
                      <a:pt x="201" y="121"/>
                    </a:lnTo>
                    <a:lnTo>
                      <a:pt x="200" y="124"/>
                    </a:lnTo>
                    <a:lnTo>
                      <a:pt x="198" y="126"/>
                    </a:lnTo>
                    <a:lnTo>
                      <a:pt x="198" y="127"/>
                    </a:lnTo>
                    <a:lnTo>
                      <a:pt x="197" y="128"/>
                    </a:lnTo>
                    <a:lnTo>
                      <a:pt x="197" y="128"/>
                    </a:lnTo>
                    <a:lnTo>
                      <a:pt x="198" y="130"/>
                    </a:lnTo>
                    <a:lnTo>
                      <a:pt x="198" y="131"/>
                    </a:lnTo>
                    <a:lnTo>
                      <a:pt x="198" y="133"/>
                    </a:lnTo>
                    <a:lnTo>
                      <a:pt x="197" y="134"/>
                    </a:lnTo>
                    <a:lnTo>
                      <a:pt x="195" y="134"/>
                    </a:lnTo>
                    <a:lnTo>
                      <a:pt x="195" y="135"/>
                    </a:lnTo>
                    <a:lnTo>
                      <a:pt x="197" y="137"/>
                    </a:lnTo>
                    <a:lnTo>
                      <a:pt x="198" y="137"/>
                    </a:lnTo>
                    <a:lnTo>
                      <a:pt x="200" y="135"/>
                    </a:lnTo>
                    <a:lnTo>
                      <a:pt x="201" y="134"/>
                    </a:lnTo>
                    <a:lnTo>
                      <a:pt x="201" y="133"/>
                    </a:lnTo>
                    <a:lnTo>
                      <a:pt x="201" y="131"/>
                    </a:lnTo>
                    <a:lnTo>
                      <a:pt x="201" y="131"/>
                    </a:lnTo>
                    <a:lnTo>
                      <a:pt x="202" y="130"/>
                    </a:lnTo>
                    <a:lnTo>
                      <a:pt x="204" y="128"/>
                    </a:lnTo>
                    <a:lnTo>
                      <a:pt x="207" y="128"/>
                    </a:lnTo>
                    <a:lnTo>
                      <a:pt x="211" y="130"/>
                    </a:lnTo>
                    <a:lnTo>
                      <a:pt x="211" y="130"/>
                    </a:lnTo>
                    <a:lnTo>
                      <a:pt x="211" y="130"/>
                    </a:lnTo>
                    <a:lnTo>
                      <a:pt x="211" y="131"/>
                    </a:lnTo>
                    <a:lnTo>
                      <a:pt x="211" y="133"/>
                    </a:lnTo>
                    <a:lnTo>
                      <a:pt x="211" y="135"/>
                    </a:lnTo>
                    <a:lnTo>
                      <a:pt x="211" y="137"/>
                    </a:lnTo>
                    <a:lnTo>
                      <a:pt x="212" y="138"/>
                    </a:lnTo>
                    <a:lnTo>
                      <a:pt x="212" y="138"/>
                    </a:lnTo>
                    <a:lnTo>
                      <a:pt x="213" y="140"/>
                    </a:lnTo>
                    <a:lnTo>
                      <a:pt x="215" y="141"/>
                    </a:lnTo>
                    <a:lnTo>
                      <a:pt x="215" y="142"/>
                    </a:lnTo>
                    <a:lnTo>
                      <a:pt x="213" y="144"/>
                    </a:lnTo>
                    <a:lnTo>
                      <a:pt x="211" y="145"/>
                    </a:lnTo>
                    <a:lnTo>
                      <a:pt x="211" y="145"/>
                    </a:lnTo>
                    <a:lnTo>
                      <a:pt x="211" y="146"/>
                    </a:lnTo>
                    <a:lnTo>
                      <a:pt x="211" y="148"/>
                    </a:lnTo>
                    <a:lnTo>
                      <a:pt x="212" y="148"/>
                    </a:lnTo>
                    <a:lnTo>
                      <a:pt x="213" y="151"/>
                    </a:lnTo>
                    <a:lnTo>
                      <a:pt x="215" y="153"/>
                    </a:lnTo>
                    <a:lnTo>
                      <a:pt x="216" y="155"/>
                    </a:lnTo>
                    <a:lnTo>
                      <a:pt x="218" y="155"/>
                    </a:lnTo>
                    <a:lnTo>
                      <a:pt x="218" y="156"/>
                    </a:lnTo>
                    <a:lnTo>
                      <a:pt x="216" y="156"/>
                    </a:lnTo>
                    <a:lnTo>
                      <a:pt x="216" y="159"/>
                    </a:lnTo>
                    <a:lnTo>
                      <a:pt x="215" y="160"/>
                    </a:lnTo>
                    <a:lnTo>
                      <a:pt x="213" y="160"/>
                    </a:lnTo>
                    <a:lnTo>
                      <a:pt x="212" y="162"/>
                    </a:lnTo>
                    <a:lnTo>
                      <a:pt x="211" y="162"/>
                    </a:lnTo>
                    <a:lnTo>
                      <a:pt x="209" y="162"/>
                    </a:lnTo>
                    <a:lnTo>
                      <a:pt x="208" y="163"/>
                    </a:lnTo>
                    <a:lnTo>
                      <a:pt x="208" y="165"/>
                    </a:lnTo>
                    <a:lnTo>
                      <a:pt x="209" y="165"/>
                    </a:lnTo>
                    <a:lnTo>
                      <a:pt x="209" y="166"/>
                    </a:lnTo>
                    <a:lnTo>
                      <a:pt x="209" y="167"/>
                    </a:lnTo>
                    <a:lnTo>
                      <a:pt x="211" y="169"/>
                    </a:lnTo>
                    <a:lnTo>
                      <a:pt x="212" y="169"/>
                    </a:lnTo>
                    <a:lnTo>
                      <a:pt x="213" y="169"/>
                    </a:lnTo>
                    <a:lnTo>
                      <a:pt x="213" y="170"/>
                    </a:lnTo>
                    <a:lnTo>
                      <a:pt x="215" y="170"/>
                    </a:lnTo>
                    <a:lnTo>
                      <a:pt x="215" y="173"/>
                    </a:lnTo>
                    <a:lnTo>
                      <a:pt x="215" y="174"/>
                    </a:lnTo>
                    <a:lnTo>
                      <a:pt x="213" y="174"/>
                    </a:lnTo>
                    <a:lnTo>
                      <a:pt x="213" y="176"/>
                    </a:lnTo>
                    <a:lnTo>
                      <a:pt x="212" y="177"/>
                    </a:lnTo>
                    <a:lnTo>
                      <a:pt x="212" y="179"/>
                    </a:lnTo>
                    <a:lnTo>
                      <a:pt x="212" y="180"/>
                    </a:lnTo>
                    <a:lnTo>
                      <a:pt x="212" y="180"/>
                    </a:lnTo>
                    <a:lnTo>
                      <a:pt x="212" y="181"/>
                    </a:lnTo>
                    <a:lnTo>
                      <a:pt x="212" y="183"/>
                    </a:lnTo>
                    <a:lnTo>
                      <a:pt x="213" y="184"/>
                    </a:lnTo>
                    <a:lnTo>
                      <a:pt x="218" y="185"/>
                    </a:lnTo>
                    <a:lnTo>
                      <a:pt x="220" y="188"/>
                    </a:lnTo>
                    <a:lnTo>
                      <a:pt x="220" y="188"/>
                    </a:lnTo>
                    <a:lnTo>
                      <a:pt x="225" y="187"/>
                    </a:lnTo>
                    <a:lnTo>
                      <a:pt x="226" y="187"/>
                    </a:lnTo>
                    <a:lnTo>
                      <a:pt x="226" y="188"/>
                    </a:lnTo>
                    <a:lnTo>
                      <a:pt x="226" y="190"/>
                    </a:lnTo>
                    <a:lnTo>
                      <a:pt x="226" y="190"/>
                    </a:lnTo>
                    <a:lnTo>
                      <a:pt x="225" y="192"/>
                    </a:lnTo>
                    <a:lnTo>
                      <a:pt x="223" y="194"/>
                    </a:lnTo>
                    <a:lnTo>
                      <a:pt x="223" y="195"/>
                    </a:lnTo>
                    <a:lnTo>
                      <a:pt x="223" y="195"/>
                    </a:lnTo>
                    <a:lnTo>
                      <a:pt x="223" y="197"/>
                    </a:lnTo>
                    <a:lnTo>
                      <a:pt x="222" y="198"/>
                    </a:lnTo>
                    <a:lnTo>
                      <a:pt x="222" y="197"/>
                    </a:lnTo>
                    <a:lnTo>
                      <a:pt x="222" y="197"/>
                    </a:lnTo>
                    <a:lnTo>
                      <a:pt x="222" y="197"/>
                    </a:lnTo>
                    <a:lnTo>
                      <a:pt x="222" y="198"/>
                    </a:lnTo>
                    <a:lnTo>
                      <a:pt x="222" y="198"/>
                    </a:lnTo>
                    <a:lnTo>
                      <a:pt x="219" y="199"/>
                    </a:lnTo>
                    <a:lnTo>
                      <a:pt x="218" y="199"/>
                    </a:lnTo>
                    <a:lnTo>
                      <a:pt x="212" y="205"/>
                    </a:lnTo>
                    <a:lnTo>
                      <a:pt x="209" y="206"/>
                    </a:lnTo>
                    <a:lnTo>
                      <a:pt x="209" y="208"/>
                    </a:lnTo>
                    <a:lnTo>
                      <a:pt x="208" y="209"/>
                    </a:lnTo>
                    <a:lnTo>
                      <a:pt x="207" y="211"/>
                    </a:lnTo>
                    <a:lnTo>
                      <a:pt x="205" y="212"/>
                    </a:lnTo>
                    <a:lnTo>
                      <a:pt x="202" y="213"/>
                    </a:lnTo>
                    <a:lnTo>
                      <a:pt x="198" y="215"/>
                    </a:lnTo>
                    <a:lnTo>
                      <a:pt x="197" y="213"/>
                    </a:lnTo>
                    <a:lnTo>
                      <a:pt x="193" y="213"/>
                    </a:lnTo>
                    <a:lnTo>
                      <a:pt x="190" y="212"/>
                    </a:lnTo>
                    <a:lnTo>
                      <a:pt x="186" y="211"/>
                    </a:lnTo>
                    <a:lnTo>
                      <a:pt x="184" y="208"/>
                    </a:lnTo>
                    <a:lnTo>
                      <a:pt x="181" y="208"/>
                    </a:lnTo>
                    <a:lnTo>
                      <a:pt x="180" y="208"/>
                    </a:lnTo>
                    <a:lnTo>
                      <a:pt x="180" y="206"/>
                    </a:lnTo>
                    <a:lnTo>
                      <a:pt x="179" y="206"/>
                    </a:lnTo>
                    <a:lnTo>
                      <a:pt x="179" y="205"/>
                    </a:lnTo>
                    <a:lnTo>
                      <a:pt x="177" y="205"/>
                    </a:lnTo>
                    <a:lnTo>
                      <a:pt x="176" y="205"/>
                    </a:lnTo>
                    <a:lnTo>
                      <a:pt x="176" y="206"/>
                    </a:lnTo>
                    <a:lnTo>
                      <a:pt x="176" y="206"/>
                    </a:lnTo>
                    <a:lnTo>
                      <a:pt x="174" y="206"/>
                    </a:lnTo>
                    <a:lnTo>
                      <a:pt x="174" y="206"/>
                    </a:lnTo>
                    <a:lnTo>
                      <a:pt x="174" y="206"/>
                    </a:lnTo>
                    <a:lnTo>
                      <a:pt x="173" y="206"/>
                    </a:lnTo>
                    <a:lnTo>
                      <a:pt x="172" y="206"/>
                    </a:lnTo>
                    <a:lnTo>
                      <a:pt x="168" y="205"/>
                    </a:lnTo>
                    <a:lnTo>
                      <a:pt x="166" y="205"/>
                    </a:lnTo>
                    <a:lnTo>
                      <a:pt x="163" y="204"/>
                    </a:lnTo>
                    <a:lnTo>
                      <a:pt x="163" y="204"/>
                    </a:lnTo>
                    <a:lnTo>
                      <a:pt x="162" y="202"/>
                    </a:lnTo>
                    <a:lnTo>
                      <a:pt x="162" y="202"/>
                    </a:lnTo>
                    <a:lnTo>
                      <a:pt x="161" y="201"/>
                    </a:lnTo>
                    <a:lnTo>
                      <a:pt x="158" y="202"/>
                    </a:lnTo>
                    <a:lnTo>
                      <a:pt x="158" y="204"/>
                    </a:lnTo>
                    <a:lnTo>
                      <a:pt x="156" y="205"/>
                    </a:lnTo>
                    <a:lnTo>
                      <a:pt x="147" y="212"/>
                    </a:lnTo>
                    <a:lnTo>
                      <a:pt x="145" y="215"/>
                    </a:lnTo>
                    <a:lnTo>
                      <a:pt x="142" y="219"/>
                    </a:lnTo>
                    <a:lnTo>
                      <a:pt x="142" y="220"/>
                    </a:lnTo>
                    <a:lnTo>
                      <a:pt x="144" y="226"/>
                    </a:lnTo>
                    <a:lnTo>
                      <a:pt x="145" y="230"/>
                    </a:lnTo>
                    <a:lnTo>
                      <a:pt x="145" y="230"/>
                    </a:lnTo>
                    <a:lnTo>
                      <a:pt x="144" y="230"/>
                    </a:lnTo>
                    <a:lnTo>
                      <a:pt x="142" y="230"/>
                    </a:lnTo>
                    <a:lnTo>
                      <a:pt x="141" y="229"/>
                    </a:lnTo>
                    <a:lnTo>
                      <a:pt x="140" y="230"/>
                    </a:lnTo>
                    <a:lnTo>
                      <a:pt x="138" y="230"/>
                    </a:lnTo>
                    <a:lnTo>
                      <a:pt x="137" y="230"/>
                    </a:lnTo>
                    <a:lnTo>
                      <a:pt x="137" y="230"/>
                    </a:lnTo>
                    <a:lnTo>
                      <a:pt x="135" y="231"/>
                    </a:lnTo>
                    <a:lnTo>
                      <a:pt x="135" y="231"/>
                    </a:lnTo>
                    <a:lnTo>
                      <a:pt x="135" y="233"/>
                    </a:lnTo>
                    <a:lnTo>
                      <a:pt x="134" y="233"/>
                    </a:lnTo>
                    <a:lnTo>
                      <a:pt x="130" y="231"/>
                    </a:lnTo>
                    <a:lnTo>
                      <a:pt x="127" y="230"/>
                    </a:lnTo>
                    <a:lnTo>
                      <a:pt x="126" y="231"/>
                    </a:lnTo>
                    <a:lnTo>
                      <a:pt x="124" y="231"/>
                    </a:lnTo>
                    <a:lnTo>
                      <a:pt x="123" y="231"/>
                    </a:lnTo>
                    <a:lnTo>
                      <a:pt x="123" y="231"/>
                    </a:lnTo>
                    <a:lnTo>
                      <a:pt x="123" y="230"/>
                    </a:lnTo>
                    <a:lnTo>
                      <a:pt x="122" y="230"/>
                    </a:lnTo>
                    <a:lnTo>
                      <a:pt x="119" y="229"/>
                    </a:lnTo>
                    <a:lnTo>
                      <a:pt x="119" y="227"/>
                    </a:lnTo>
                    <a:lnTo>
                      <a:pt x="119" y="227"/>
                    </a:lnTo>
                    <a:lnTo>
                      <a:pt x="119" y="227"/>
                    </a:lnTo>
                    <a:lnTo>
                      <a:pt x="119" y="226"/>
                    </a:lnTo>
                    <a:lnTo>
                      <a:pt x="116" y="225"/>
                    </a:lnTo>
                    <a:lnTo>
                      <a:pt x="115" y="225"/>
                    </a:lnTo>
                    <a:lnTo>
                      <a:pt x="113" y="226"/>
                    </a:lnTo>
                    <a:lnTo>
                      <a:pt x="113" y="226"/>
                    </a:lnTo>
                    <a:lnTo>
                      <a:pt x="112" y="223"/>
                    </a:lnTo>
                    <a:lnTo>
                      <a:pt x="110" y="223"/>
                    </a:lnTo>
                    <a:lnTo>
                      <a:pt x="109" y="223"/>
                    </a:lnTo>
                    <a:lnTo>
                      <a:pt x="108" y="223"/>
                    </a:lnTo>
                    <a:lnTo>
                      <a:pt x="106" y="222"/>
                    </a:lnTo>
                    <a:lnTo>
                      <a:pt x="101" y="220"/>
                    </a:lnTo>
                    <a:lnTo>
                      <a:pt x="99" y="220"/>
                    </a:lnTo>
                    <a:lnTo>
                      <a:pt x="99" y="220"/>
                    </a:lnTo>
                    <a:lnTo>
                      <a:pt x="99" y="222"/>
                    </a:lnTo>
                    <a:lnTo>
                      <a:pt x="99" y="223"/>
                    </a:lnTo>
                    <a:lnTo>
                      <a:pt x="99" y="225"/>
                    </a:lnTo>
                    <a:lnTo>
                      <a:pt x="96" y="225"/>
                    </a:lnTo>
                    <a:lnTo>
                      <a:pt x="94" y="223"/>
                    </a:lnTo>
                    <a:lnTo>
                      <a:pt x="92" y="223"/>
                    </a:lnTo>
                    <a:lnTo>
                      <a:pt x="92" y="223"/>
                    </a:lnTo>
                    <a:lnTo>
                      <a:pt x="91" y="223"/>
                    </a:lnTo>
                    <a:lnTo>
                      <a:pt x="87" y="225"/>
                    </a:lnTo>
                    <a:lnTo>
                      <a:pt x="85" y="223"/>
                    </a:lnTo>
                    <a:lnTo>
                      <a:pt x="85" y="222"/>
                    </a:lnTo>
                    <a:lnTo>
                      <a:pt x="84" y="222"/>
                    </a:lnTo>
                    <a:lnTo>
                      <a:pt x="83" y="220"/>
                    </a:lnTo>
                    <a:lnTo>
                      <a:pt x="81" y="220"/>
                    </a:lnTo>
                    <a:lnTo>
                      <a:pt x="81" y="220"/>
                    </a:lnTo>
                    <a:lnTo>
                      <a:pt x="80" y="220"/>
                    </a:lnTo>
                    <a:lnTo>
                      <a:pt x="78" y="222"/>
                    </a:lnTo>
                    <a:lnTo>
                      <a:pt x="77" y="222"/>
                    </a:lnTo>
                    <a:lnTo>
                      <a:pt x="77" y="222"/>
                    </a:lnTo>
                    <a:lnTo>
                      <a:pt x="74" y="219"/>
                    </a:lnTo>
                    <a:lnTo>
                      <a:pt x="73" y="218"/>
                    </a:lnTo>
                    <a:lnTo>
                      <a:pt x="71" y="218"/>
                    </a:lnTo>
                    <a:lnTo>
                      <a:pt x="70" y="218"/>
                    </a:lnTo>
                    <a:lnTo>
                      <a:pt x="66" y="216"/>
                    </a:lnTo>
                    <a:lnTo>
                      <a:pt x="64" y="215"/>
                    </a:lnTo>
                    <a:lnTo>
                      <a:pt x="63" y="215"/>
                    </a:lnTo>
                    <a:lnTo>
                      <a:pt x="63" y="213"/>
                    </a:lnTo>
                    <a:lnTo>
                      <a:pt x="63" y="213"/>
                    </a:lnTo>
                    <a:lnTo>
                      <a:pt x="63" y="215"/>
                    </a:lnTo>
                    <a:lnTo>
                      <a:pt x="63" y="215"/>
                    </a:lnTo>
                    <a:lnTo>
                      <a:pt x="62" y="215"/>
                    </a:lnTo>
                    <a:lnTo>
                      <a:pt x="62" y="215"/>
                    </a:lnTo>
                    <a:lnTo>
                      <a:pt x="60" y="215"/>
                    </a:lnTo>
                    <a:lnTo>
                      <a:pt x="60" y="215"/>
                    </a:lnTo>
                    <a:lnTo>
                      <a:pt x="60" y="213"/>
                    </a:lnTo>
                    <a:lnTo>
                      <a:pt x="62" y="212"/>
                    </a:lnTo>
                    <a:lnTo>
                      <a:pt x="62" y="212"/>
                    </a:lnTo>
                    <a:lnTo>
                      <a:pt x="62" y="211"/>
                    </a:lnTo>
                    <a:lnTo>
                      <a:pt x="60" y="209"/>
                    </a:lnTo>
                    <a:lnTo>
                      <a:pt x="59" y="209"/>
                    </a:lnTo>
                    <a:lnTo>
                      <a:pt x="57" y="209"/>
                    </a:lnTo>
                    <a:lnTo>
                      <a:pt x="56" y="209"/>
                    </a:lnTo>
                    <a:lnTo>
                      <a:pt x="56" y="208"/>
                    </a:lnTo>
                    <a:lnTo>
                      <a:pt x="55" y="206"/>
                    </a:lnTo>
                    <a:lnTo>
                      <a:pt x="55" y="206"/>
                    </a:lnTo>
                    <a:lnTo>
                      <a:pt x="57" y="205"/>
                    </a:lnTo>
                    <a:lnTo>
                      <a:pt x="60" y="202"/>
                    </a:lnTo>
                    <a:lnTo>
                      <a:pt x="63" y="191"/>
                    </a:lnTo>
                    <a:lnTo>
                      <a:pt x="64" y="177"/>
                    </a:lnTo>
                    <a:lnTo>
                      <a:pt x="66" y="174"/>
                    </a:lnTo>
                    <a:lnTo>
                      <a:pt x="67" y="174"/>
                    </a:lnTo>
                    <a:lnTo>
                      <a:pt x="66" y="172"/>
                    </a:lnTo>
                    <a:lnTo>
                      <a:pt x="66" y="173"/>
                    </a:lnTo>
                    <a:lnTo>
                      <a:pt x="64" y="174"/>
                    </a:lnTo>
                    <a:lnTo>
                      <a:pt x="64" y="174"/>
                    </a:lnTo>
                    <a:lnTo>
                      <a:pt x="66" y="162"/>
                    </a:lnTo>
                    <a:lnTo>
                      <a:pt x="66" y="158"/>
                    </a:lnTo>
                    <a:lnTo>
                      <a:pt x="67" y="152"/>
                    </a:lnTo>
                    <a:lnTo>
                      <a:pt x="70" y="153"/>
                    </a:lnTo>
                    <a:lnTo>
                      <a:pt x="73" y="156"/>
                    </a:lnTo>
                    <a:lnTo>
                      <a:pt x="73" y="158"/>
                    </a:lnTo>
                    <a:lnTo>
                      <a:pt x="74" y="163"/>
                    </a:lnTo>
                    <a:lnTo>
                      <a:pt x="76" y="165"/>
                    </a:lnTo>
                    <a:lnTo>
                      <a:pt x="77" y="166"/>
                    </a:lnTo>
                    <a:lnTo>
                      <a:pt x="77" y="165"/>
                    </a:lnTo>
                    <a:lnTo>
                      <a:pt x="76" y="163"/>
                    </a:lnTo>
                    <a:lnTo>
                      <a:pt x="74" y="156"/>
                    </a:lnTo>
                    <a:lnTo>
                      <a:pt x="73" y="153"/>
                    </a:lnTo>
                    <a:lnTo>
                      <a:pt x="71" y="152"/>
                    </a:lnTo>
                    <a:lnTo>
                      <a:pt x="66" y="148"/>
                    </a:lnTo>
                    <a:lnTo>
                      <a:pt x="66" y="148"/>
                    </a:lnTo>
                    <a:lnTo>
                      <a:pt x="66" y="146"/>
                    </a:lnTo>
                    <a:lnTo>
                      <a:pt x="67" y="146"/>
                    </a:lnTo>
                    <a:lnTo>
                      <a:pt x="69" y="146"/>
                    </a:lnTo>
                    <a:lnTo>
                      <a:pt x="69" y="146"/>
                    </a:lnTo>
                    <a:lnTo>
                      <a:pt x="67" y="145"/>
                    </a:lnTo>
                    <a:lnTo>
                      <a:pt x="67" y="142"/>
                    </a:lnTo>
                    <a:lnTo>
                      <a:pt x="67" y="135"/>
                    </a:lnTo>
                    <a:lnTo>
                      <a:pt x="67" y="134"/>
                    </a:lnTo>
                    <a:lnTo>
                      <a:pt x="66" y="133"/>
                    </a:lnTo>
                    <a:lnTo>
                      <a:pt x="64" y="131"/>
                    </a:lnTo>
                    <a:lnTo>
                      <a:pt x="63" y="131"/>
                    </a:lnTo>
                    <a:lnTo>
                      <a:pt x="62" y="131"/>
                    </a:lnTo>
                    <a:lnTo>
                      <a:pt x="55" y="127"/>
                    </a:lnTo>
                    <a:lnTo>
                      <a:pt x="52" y="121"/>
                    </a:lnTo>
                    <a:lnTo>
                      <a:pt x="50" y="119"/>
                    </a:lnTo>
                    <a:lnTo>
                      <a:pt x="49" y="117"/>
                    </a:lnTo>
                    <a:lnTo>
                      <a:pt x="49" y="116"/>
                    </a:lnTo>
                    <a:lnTo>
                      <a:pt x="50" y="113"/>
                    </a:lnTo>
                    <a:lnTo>
                      <a:pt x="49" y="110"/>
                    </a:lnTo>
                    <a:lnTo>
                      <a:pt x="48" y="110"/>
                    </a:lnTo>
                    <a:lnTo>
                      <a:pt x="48" y="109"/>
                    </a:lnTo>
                    <a:lnTo>
                      <a:pt x="48" y="107"/>
                    </a:lnTo>
                    <a:lnTo>
                      <a:pt x="49" y="106"/>
                    </a:lnTo>
                    <a:lnTo>
                      <a:pt x="50" y="106"/>
                    </a:lnTo>
                    <a:lnTo>
                      <a:pt x="52" y="107"/>
                    </a:lnTo>
                    <a:lnTo>
                      <a:pt x="55" y="107"/>
                    </a:lnTo>
                    <a:lnTo>
                      <a:pt x="56" y="107"/>
                    </a:lnTo>
                    <a:lnTo>
                      <a:pt x="52" y="106"/>
                    </a:lnTo>
                    <a:lnTo>
                      <a:pt x="45" y="106"/>
                    </a:lnTo>
                    <a:lnTo>
                      <a:pt x="44" y="106"/>
                    </a:lnTo>
                    <a:lnTo>
                      <a:pt x="42" y="106"/>
                    </a:lnTo>
                    <a:lnTo>
                      <a:pt x="41" y="103"/>
                    </a:lnTo>
                    <a:lnTo>
                      <a:pt x="42" y="103"/>
                    </a:lnTo>
                    <a:lnTo>
                      <a:pt x="44" y="100"/>
                    </a:lnTo>
                    <a:lnTo>
                      <a:pt x="42" y="100"/>
                    </a:lnTo>
                    <a:lnTo>
                      <a:pt x="41" y="99"/>
                    </a:lnTo>
                    <a:lnTo>
                      <a:pt x="39" y="99"/>
                    </a:lnTo>
                    <a:lnTo>
                      <a:pt x="37" y="100"/>
                    </a:lnTo>
                    <a:lnTo>
                      <a:pt x="37" y="99"/>
                    </a:lnTo>
                    <a:lnTo>
                      <a:pt x="38" y="98"/>
                    </a:lnTo>
                    <a:lnTo>
                      <a:pt x="37" y="98"/>
                    </a:lnTo>
                    <a:lnTo>
                      <a:pt x="35" y="98"/>
                    </a:lnTo>
                    <a:lnTo>
                      <a:pt x="34" y="98"/>
                    </a:lnTo>
                    <a:lnTo>
                      <a:pt x="31" y="98"/>
                    </a:lnTo>
                    <a:lnTo>
                      <a:pt x="30" y="95"/>
                    </a:lnTo>
                    <a:lnTo>
                      <a:pt x="28" y="95"/>
                    </a:lnTo>
                    <a:lnTo>
                      <a:pt x="28" y="95"/>
                    </a:lnTo>
                    <a:lnTo>
                      <a:pt x="27" y="95"/>
                    </a:lnTo>
                    <a:lnTo>
                      <a:pt x="25" y="95"/>
                    </a:lnTo>
                    <a:lnTo>
                      <a:pt x="24" y="95"/>
                    </a:lnTo>
                    <a:lnTo>
                      <a:pt x="24" y="94"/>
                    </a:lnTo>
                    <a:lnTo>
                      <a:pt x="17" y="91"/>
                    </a:lnTo>
                    <a:lnTo>
                      <a:pt x="13" y="91"/>
                    </a:lnTo>
                    <a:lnTo>
                      <a:pt x="10" y="92"/>
                    </a:lnTo>
                    <a:lnTo>
                      <a:pt x="9" y="92"/>
                    </a:lnTo>
                    <a:lnTo>
                      <a:pt x="7" y="91"/>
                    </a:lnTo>
                    <a:lnTo>
                      <a:pt x="7" y="88"/>
                    </a:lnTo>
                    <a:lnTo>
                      <a:pt x="2" y="85"/>
                    </a:lnTo>
                    <a:lnTo>
                      <a:pt x="3" y="85"/>
                    </a:lnTo>
                    <a:lnTo>
                      <a:pt x="6" y="84"/>
                    </a:lnTo>
                    <a:lnTo>
                      <a:pt x="7" y="84"/>
                    </a:lnTo>
                    <a:lnTo>
                      <a:pt x="9" y="82"/>
                    </a:lnTo>
                    <a:lnTo>
                      <a:pt x="7" y="81"/>
                    </a:lnTo>
                    <a:lnTo>
                      <a:pt x="6" y="81"/>
                    </a:lnTo>
                    <a:lnTo>
                      <a:pt x="5" y="80"/>
                    </a:lnTo>
                    <a:lnTo>
                      <a:pt x="5" y="80"/>
                    </a:lnTo>
                    <a:lnTo>
                      <a:pt x="5" y="78"/>
                    </a:lnTo>
                    <a:lnTo>
                      <a:pt x="6" y="78"/>
                    </a:lnTo>
                    <a:lnTo>
                      <a:pt x="7" y="80"/>
                    </a:lnTo>
                    <a:lnTo>
                      <a:pt x="10" y="78"/>
                    </a:lnTo>
                    <a:lnTo>
                      <a:pt x="9" y="77"/>
                    </a:lnTo>
                    <a:lnTo>
                      <a:pt x="7" y="77"/>
                    </a:lnTo>
                    <a:lnTo>
                      <a:pt x="7" y="77"/>
                    </a:lnTo>
                    <a:lnTo>
                      <a:pt x="5" y="77"/>
                    </a:lnTo>
                    <a:lnTo>
                      <a:pt x="5" y="77"/>
                    </a:lnTo>
                    <a:lnTo>
                      <a:pt x="2" y="77"/>
                    </a:lnTo>
                    <a:lnTo>
                      <a:pt x="0" y="75"/>
                    </a:lnTo>
                    <a:lnTo>
                      <a:pt x="0" y="74"/>
                    </a:lnTo>
                    <a:lnTo>
                      <a:pt x="2" y="73"/>
                    </a:lnTo>
                    <a:lnTo>
                      <a:pt x="5" y="70"/>
                    </a:lnTo>
                    <a:lnTo>
                      <a:pt x="13" y="67"/>
                    </a:lnTo>
                    <a:lnTo>
                      <a:pt x="17" y="68"/>
                    </a:lnTo>
                    <a:lnTo>
                      <a:pt x="20" y="67"/>
                    </a:lnTo>
                    <a:lnTo>
                      <a:pt x="23" y="66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32" y="66"/>
                    </a:lnTo>
                    <a:lnTo>
                      <a:pt x="37" y="71"/>
                    </a:lnTo>
                    <a:lnTo>
                      <a:pt x="38" y="73"/>
                    </a:lnTo>
                    <a:lnTo>
                      <a:pt x="42" y="70"/>
                    </a:lnTo>
                    <a:lnTo>
                      <a:pt x="49" y="70"/>
                    </a:lnTo>
                    <a:lnTo>
                      <a:pt x="50" y="71"/>
                    </a:lnTo>
                    <a:lnTo>
                      <a:pt x="52" y="70"/>
                    </a:lnTo>
                    <a:lnTo>
                      <a:pt x="53" y="68"/>
                    </a:lnTo>
                    <a:lnTo>
                      <a:pt x="53" y="68"/>
                    </a:lnTo>
                    <a:lnTo>
                      <a:pt x="55" y="70"/>
                    </a:lnTo>
                    <a:lnTo>
                      <a:pt x="62" y="70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59" y="64"/>
                    </a:lnTo>
                    <a:lnTo>
                      <a:pt x="59" y="55"/>
                    </a:lnTo>
                    <a:lnTo>
                      <a:pt x="56" y="50"/>
                    </a:lnTo>
                    <a:lnTo>
                      <a:pt x="55" y="46"/>
                    </a:lnTo>
                    <a:lnTo>
                      <a:pt x="53" y="43"/>
                    </a:lnTo>
                    <a:lnTo>
                      <a:pt x="53" y="42"/>
                    </a:lnTo>
                    <a:lnTo>
                      <a:pt x="53" y="41"/>
                    </a:lnTo>
                    <a:lnTo>
                      <a:pt x="56" y="41"/>
                    </a:lnTo>
                    <a:lnTo>
                      <a:pt x="59" y="41"/>
                    </a:lnTo>
                    <a:lnTo>
                      <a:pt x="63" y="41"/>
                    </a:lnTo>
                    <a:lnTo>
                      <a:pt x="64" y="41"/>
                    </a:lnTo>
                    <a:lnTo>
                      <a:pt x="64" y="43"/>
                    </a:lnTo>
                    <a:lnTo>
                      <a:pt x="64" y="46"/>
                    </a:lnTo>
                    <a:lnTo>
                      <a:pt x="66" y="48"/>
                    </a:lnTo>
                    <a:lnTo>
                      <a:pt x="67" y="49"/>
                    </a:lnTo>
                    <a:lnTo>
                      <a:pt x="70" y="49"/>
                    </a:lnTo>
                    <a:lnTo>
                      <a:pt x="73" y="49"/>
                    </a:lnTo>
                    <a:lnTo>
                      <a:pt x="78" y="50"/>
                    </a:lnTo>
                    <a:lnTo>
                      <a:pt x="84" y="52"/>
                    </a:lnTo>
                    <a:lnTo>
                      <a:pt x="87" y="50"/>
                    </a:lnTo>
                    <a:lnTo>
                      <a:pt x="90" y="49"/>
                    </a:lnTo>
                    <a:lnTo>
                      <a:pt x="95" y="48"/>
                    </a:lnTo>
                    <a:lnTo>
                      <a:pt x="95" y="46"/>
                    </a:lnTo>
                    <a:lnTo>
                      <a:pt x="92" y="46"/>
                    </a:lnTo>
                    <a:lnTo>
                      <a:pt x="90" y="46"/>
                    </a:lnTo>
                    <a:lnTo>
                      <a:pt x="90" y="45"/>
                    </a:lnTo>
                    <a:lnTo>
                      <a:pt x="90" y="43"/>
                    </a:lnTo>
                    <a:lnTo>
                      <a:pt x="91" y="41"/>
                    </a:lnTo>
                    <a:lnTo>
                      <a:pt x="98" y="35"/>
                    </a:lnTo>
                    <a:lnTo>
                      <a:pt x="103" y="34"/>
                    </a:lnTo>
                    <a:lnTo>
                      <a:pt x="110" y="32"/>
                    </a:lnTo>
                    <a:lnTo>
                      <a:pt x="113" y="29"/>
                    </a:lnTo>
                    <a:lnTo>
                      <a:pt x="115" y="25"/>
                    </a:lnTo>
                    <a:lnTo>
                      <a:pt x="116" y="25"/>
                    </a:lnTo>
                    <a:lnTo>
                      <a:pt x="116" y="25"/>
                    </a:lnTo>
                    <a:lnTo>
                      <a:pt x="116" y="24"/>
                    </a:lnTo>
                    <a:lnTo>
                      <a:pt x="116" y="11"/>
                    </a:lnTo>
                    <a:lnTo>
                      <a:pt x="116" y="9"/>
                    </a:lnTo>
                    <a:lnTo>
                      <a:pt x="117" y="7"/>
                    </a:lnTo>
                    <a:lnTo>
                      <a:pt x="119" y="6"/>
                    </a:lnTo>
                    <a:lnTo>
                      <a:pt x="122" y="3"/>
                    </a:lnTo>
                    <a:lnTo>
                      <a:pt x="131" y="2"/>
                    </a:lnTo>
                    <a:lnTo>
                      <a:pt x="133" y="0"/>
                    </a:lnTo>
                    <a:lnTo>
                      <a:pt x="133" y="2"/>
                    </a:lnTo>
                    <a:lnTo>
                      <a:pt x="134" y="3"/>
                    </a:lnTo>
                    <a:lnTo>
                      <a:pt x="134" y="4"/>
                    </a:lnTo>
                    <a:lnTo>
                      <a:pt x="134" y="6"/>
                    </a:lnTo>
                    <a:lnTo>
                      <a:pt x="134" y="7"/>
                    </a:lnTo>
                    <a:lnTo>
                      <a:pt x="135" y="9"/>
                    </a:lnTo>
                    <a:lnTo>
                      <a:pt x="137" y="10"/>
                    </a:lnTo>
                    <a:lnTo>
                      <a:pt x="138" y="11"/>
                    </a:lnTo>
                    <a:lnTo>
                      <a:pt x="140" y="11"/>
                    </a:lnTo>
                    <a:close/>
                    <a:moveTo>
                      <a:pt x="66" y="142"/>
                    </a:moveTo>
                    <a:lnTo>
                      <a:pt x="66" y="145"/>
                    </a:lnTo>
                    <a:lnTo>
                      <a:pt x="64" y="142"/>
                    </a:lnTo>
                    <a:lnTo>
                      <a:pt x="63" y="141"/>
                    </a:lnTo>
                    <a:lnTo>
                      <a:pt x="62" y="140"/>
                    </a:lnTo>
                    <a:lnTo>
                      <a:pt x="62" y="138"/>
                    </a:lnTo>
                    <a:lnTo>
                      <a:pt x="64" y="140"/>
                    </a:lnTo>
                    <a:lnTo>
                      <a:pt x="66" y="142"/>
                    </a:lnTo>
                    <a:close/>
                    <a:moveTo>
                      <a:pt x="259" y="220"/>
                    </a:moveTo>
                    <a:lnTo>
                      <a:pt x="259" y="225"/>
                    </a:lnTo>
                    <a:lnTo>
                      <a:pt x="259" y="226"/>
                    </a:lnTo>
                    <a:lnTo>
                      <a:pt x="259" y="226"/>
                    </a:lnTo>
                    <a:lnTo>
                      <a:pt x="261" y="227"/>
                    </a:lnTo>
                    <a:lnTo>
                      <a:pt x="261" y="237"/>
                    </a:lnTo>
                    <a:lnTo>
                      <a:pt x="261" y="237"/>
                    </a:lnTo>
                    <a:lnTo>
                      <a:pt x="258" y="241"/>
                    </a:lnTo>
                    <a:lnTo>
                      <a:pt x="258" y="243"/>
                    </a:lnTo>
                    <a:lnTo>
                      <a:pt x="258" y="247"/>
                    </a:lnTo>
                    <a:lnTo>
                      <a:pt x="258" y="248"/>
                    </a:lnTo>
                    <a:lnTo>
                      <a:pt x="257" y="250"/>
                    </a:lnTo>
                    <a:lnTo>
                      <a:pt x="255" y="254"/>
                    </a:lnTo>
                    <a:lnTo>
                      <a:pt x="254" y="255"/>
                    </a:lnTo>
                    <a:lnTo>
                      <a:pt x="251" y="254"/>
                    </a:lnTo>
                    <a:lnTo>
                      <a:pt x="248" y="252"/>
                    </a:lnTo>
                    <a:lnTo>
                      <a:pt x="248" y="251"/>
                    </a:lnTo>
                    <a:lnTo>
                      <a:pt x="247" y="251"/>
                    </a:lnTo>
                    <a:lnTo>
                      <a:pt x="247" y="250"/>
                    </a:lnTo>
                    <a:lnTo>
                      <a:pt x="248" y="248"/>
                    </a:lnTo>
                    <a:lnTo>
                      <a:pt x="248" y="248"/>
                    </a:lnTo>
                    <a:lnTo>
                      <a:pt x="247" y="247"/>
                    </a:lnTo>
                    <a:lnTo>
                      <a:pt x="246" y="247"/>
                    </a:lnTo>
                    <a:lnTo>
                      <a:pt x="246" y="245"/>
                    </a:lnTo>
                    <a:lnTo>
                      <a:pt x="247" y="244"/>
                    </a:lnTo>
                    <a:lnTo>
                      <a:pt x="246" y="243"/>
                    </a:lnTo>
                    <a:lnTo>
                      <a:pt x="244" y="243"/>
                    </a:lnTo>
                    <a:lnTo>
                      <a:pt x="244" y="243"/>
                    </a:lnTo>
                    <a:lnTo>
                      <a:pt x="244" y="241"/>
                    </a:lnTo>
                    <a:lnTo>
                      <a:pt x="244" y="241"/>
                    </a:lnTo>
                    <a:lnTo>
                      <a:pt x="246" y="240"/>
                    </a:lnTo>
                    <a:lnTo>
                      <a:pt x="246" y="238"/>
                    </a:lnTo>
                    <a:lnTo>
                      <a:pt x="244" y="238"/>
                    </a:lnTo>
                    <a:lnTo>
                      <a:pt x="243" y="237"/>
                    </a:lnTo>
                    <a:lnTo>
                      <a:pt x="243" y="236"/>
                    </a:lnTo>
                    <a:lnTo>
                      <a:pt x="244" y="234"/>
                    </a:lnTo>
                    <a:lnTo>
                      <a:pt x="244" y="234"/>
                    </a:lnTo>
                    <a:lnTo>
                      <a:pt x="244" y="233"/>
                    </a:lnTo>
                    <a:lnTo>
                      <a:pt x="243" y="233"/>
                    </a:lnTo>
                    <a:lnTo>
                      <a:pt x="243" y="231"/>
                    </a:lnTo>
                    <a:lnTo>
                      <a:pt x="243" y="231"/>
                    </a:lnTo>
                    <a:lnTo>
                      <a:pt x="244" y="230"/>
                    </a:lnTo>
                    <a:lnTo>
                      <a:pt x="246" y="227"/>
                    </a:lnTo>
                    <a:lnTo>
                      <a:pt x="247" y="226"/>
                    </a:lnTo>
                    <a:lnTo>
                      <a:pt x="251" y="225"/>
                    </a:lnTo>
                    <a:lnTo>
                      <a:pt x="251" y="225"/>
                    </a:lnTo>
                    <a:lnTo>
                      <a:pt x="252" y="223"/>
                    </a:lnTo>
                    <a:lnTo>
                      <a:pt x="254" y="223"/>
                    </a:lnTo>
                    <a:lnTo>
                      <a:pt x="254" y="223"/>
                    </a:lnTo>
                    <a:lnTo>
                      <a:pt x="255" y="223"/>
                    </a:lnTo>
                    <a:lnTo>
                      <a:pt x="255" y="223"/>
                    </a:lnTo>
                    <a:lnTo>
                      <a:pt x="257" y="223"/>
                    </a:lnTo>
                    <a:lnTo>
                      <a:pt x="257" y="222"/>
                    </a:lnTo>
                    <a:lnTo>
                      <a:pt x="257" y="220"/>
                    </a:lnTo>
                    <a:lnTo>
                      <a:pt x="257" y="218"/>
                    </a:lnTo>
                    <a:lnTo>
                      <a:pt x="257" y="216"/>
                    </a:lnTo>
                    <a:lnTo>
                      <a:pt x="258" y="216"/>
                    </a:lnTo>
                    <a:lnTo>
                      <a:pt x="259" y="216"/>
                    </a:lnTo>
                    <a:lnTo>
                      <a:pt x="259" y="218"/>
                    </a:lnTo>
                    <a:lnTo>
                      <a:pt x="259" y="219"/>
                    </a:lnTo>
                    <a:lnTo>
                      <a:pt x="259" y="220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56" name="United Kingdom">
                <a:extLst>
                  <a:ext uri="{FF2B5EF4-FFF2-40B4-BE49-F238E27FC236}">
                    <a16:creationId xmlns:a16="http://schemas.microsoft.com/office/drawing/2014/main" id="{35139CE6-03F2-96ED-304A-5FD5D6FEDE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10322" y="2435293"/>
                <a:ext cx="140777" cy="272952"/>
              </a:xfrm>
              <a:custGeom>
                <a:avLst/>
                <a:gdLst>
                  <a:gd name="T0" fmla="*/ 75 w 180"/>
                  <a:gd name="T1" fmla="*/ 253 h 349"/>
                  <a:gd name="T2" fmla="*/ 39 w 180"/>
                  <a:gd name="T3" fmla="*/ 200 h 349"/>
                  <a:gd name="T4" fmla="*/ 46 w 180"/>
                  <a:gd name="T5" fmla="*/ 215 h 349"/>
                  <a:gd name="T6" fmla="*/ 32 w 180"/>
                  <a:gd name="T7" fmla="*/ 229 h 349"/>
                  <a:gd name="T8" fmla="*/ 18 w 180"/>
                  <a:gd name="T9" fmla="*/ 221 h 349"/>
                  <a:gd name="T10" fmla="*/ 0 w 180"/>
                  <a:gd name="T11" fmla="*/ 218 h 349"/>
                  <a:gd name="T12" fmla="*/ 13 w 180"/>
                  <a:gd name="T13" fmla="*/ 207 h 349"/>
                  <a:gd name="T14" fmla="*/ 53 w 180"/>
                  <a:gd name="T15" fmla="*/ 186 h 349"/>
                  <a:gd name="T16" fmla="*/ 38 w 180"/>
                  <a:gd name="T17" fmla="*/ 179 h 349"/>
                  <a:gd name="T18" fmla="*/ 32 w 180"/>
                  <a:gd name="T19" fmla="*/ 173 h 349"/>
                  <a:gd name="T20" fmla="*/ 40 w 180"/>
                  <a:gd name="T21" fmla="*/ 168 h 349"/>
                  <a:gd name="T22" fmla="*/ 33 w 180"/>
                  <a:gd name="T23" fmla="*/ 148 h 349"/>
                  <a:gd name="T24" fmla="*/ 28 w 180"/>
                  <a:gd name="T25" fmla="*/ 150 h 349"/>
                  <a:gd name="T26" fmla="*/ 35 w 180"/>
                  <a:gd name="T27" fmla="*/ 134 h 349"/>
                  <a:gd name="T28" fmla="*/ 36 w 180"/>
                  <a:gd name="T29" fmla="*/ 119 h 349"/>
                  <a:gd name="T30" fmla="*/ 39 w 180"/>
                  <a:gd name="T31" fmla="*/ 134 h 349"/>
                  <a:gd name="T32" fmla="*/ 28 w 180"/>
                  <a:gd name="T33" fmla="*/ 117 h 349"/>
                  <a:gd name="T34" fmla="*/ 13 w 180"/>
                  <a:gd name="T35" fmla="*/ 113 h 349"/>
                  <a:gd name="T36" fmla="*/ 25 w 180"/>
                  <a:gd name="T37" fmla="*/ 108 h 349"/>
                  <a:gd name="T38" fmla="*/ 21 w 180"/>
                  <a:gd name="T39" fmla="*/ 99 h 349"/>
                  <a:gd name="T40" fmla="*/ 29 w 180"/>
                  <a:gd name="T41" fmla="*/ 88 h 349"/>
                  <a:gd name="T42" fmla="*/ 77 w 180"/>
                  <a:gd name="T43" fmla="*/ 108 h 349"/>
                  <a:gd name="T44" fmla="*/ 113 w 180"/>
                  <a:gd name="T45" fmla="*/ 113 h 349"/>
                  <a:gd name="T46" fmla="*/ 93 w 180"/>
                  <a:gd name="T47" fmla="*/ 154 h 349"/>
                  <a:gd name="T48" fmla="*/ 79 w 180"/>
                  <a:gd name="T49" fmla="*/ 165 h 349"/>
                  <a:gd name="T50" fmla="*/ 125 w 180"/>
                  <a:gd name="T51" fmla="*/ 209 h 349"/>
                  <a:gd name="T52" fmla="*/ 148 w 180"/>
                  <a:gd name="T53" fmla="*/ 243 h 349"/>
                  <a:gd name="T54" fmla="*/ 153 w 180"/>
                  <a:gd name="T55" fmla="*/ 268 h 349"/>
                  <a:gd name="T56" fmla="*/ 180 w 180"/>
                  <a:gd name="T57" fmla="*/ 281 h 349"/>
                  <a:gd name="T58" fmla="*/ 164 w 180"/>
                  <a:gd name="T59" fmla="*/ 301 h 349"/>
                  <a:gd name="T60" fmla="*/ 174 w 180"/>
                  <a:gd name="T61" fmla="*/ 311 h 349"/>
                  <a:gd name="T62" fmla="*/ 132 w 180"/>
                  <a:gd name="T63" fmla="*/ 328 h 349"/>
                  <a:gd name="T64" fmla="*/ 105 w 180"/>
                  <a:gd name="T65" fmla="*/ 332 h 349"/>
                  <a:gd name="T66" fmla="*/ 72 w 180"/>
                  <a:gd name="T67" fmla="*/ 339 h 349"/>
                  <a:gd name="T68" fmla="*/ 46 w 180"/>
                  <a:gd name="T69" fmla="*/ 346 h 349"/>
                  <a:gd name="T70" fmla="*/ 78 w 180"/>
                  <a:gd name="T71" fmla="*/ 314 h 349"/>
                  <a:gd name="T72" fmla="*/ 89 w 180"/>
                  <a:gd name="T73" fmla="*/ 310 h 349"/>
                  <a:gd name="T74" fmla="*/ 63 w 180"/>
                  <a:gd name="T75" fmla="*/ 301 h 349"/>
                  <a:gd name="T76" fmla="*/ 77 w 180"/>
                  <a:gd name="T77" fmla="*/ 276 h 349"/>
                  <a:gd name="T78" fmla="*/ 66 w 180"/>
                  <a:gd name="T79" fmla="*/ 264 h 349"/>
                  <a:gd name="T80" fmla="*/ 96 w 180"/>
                  <a:gd name="T81" fmla="*/ 254 h 349"/>
                  <a:gd name="T82" fmla="*/ 96 w 180"/>
                  <a:gd name="T83" fmla="*/ 228 h 349"/>
                  <a:gd name="T84" fmla="*/ 82 w 180"/>
                  <a:gd name="T85" fmla="*/ 204 h 349"/>
                  <a:gd name="T86" fmla="*/ 60 w 180"/>
                  <a:gd name="T87" fmla="*/ 207 h 349"/>
                  <a:gd name="T88" fmla="*/ 60 w 180"/>
                  <a:gd name="T89" fmla="*/ 176 h 349"/>
                  <a:gd name="T90" fmla="*/ 54 w 180"/>
                  <a:gd name="T91" fmla="*/ 170 h 349"/>
                  <a:gd name="T92" fmla="*/ 47 w 180"/>
                  <a:gd name="T93" fmla="*/ 189 h 349"/>
                  <a:gd name="T94" fmla="*/ 46 w 180"/>
                  <a:gd name="T95" fmla="*/ 166 h 349"/>
                  <a:gd name="T96" fmla="*/ 40 w 180"/>
                  <a:gd name="T97" fmla="*/ 145 h 349"/>
                  <a:gd name="T98" fmla="*/ 43 w 180"/>
                  <a:gd name="T99" fmla="*/ 120 h 349"/>
                  <a:gd name="T100" fmla="*/ 50 w 180"/>
                  <a:gd name="T101" fmla="*/ 101 h 349"/>
                  <a:gd name="T102" fmla="*/ 57 w 180"/>
                  <a:gd name="T103" fmla="*/ 83 h 349"/>
                  <a:gd name="T104" fmla="*/ 93 w 180"/>
                  <a:gd name="T105" fmla="*/ 81 h 349"/>
                  <a:gd name="T106" fmla="*/ 88 w 180"/>
                  <a:gd name="T107" fmla="*/ 70 h 349"/>
                  <a:gd name="T108" fmla="*/ 93 w 180"/>
                  <a:gd name="T109" fmla="*/ 70 h 349"/>
                  <a:gd name="T110" fmla="*/ 93 w 180"/>
                  <a:gd name="T111" fmla="*/ 65 h 349"/>
                  <a:gd name="T112" fmla="*/ 93 w 180"/>
                  <a:gd name="T113" fmla="*/ 56 h 349"/>
                  <a:gd name="T114" fmla="*/ 127 w 180"/>
                  <a:gd name="T115" fmla="*/ 26 h 349"/>
                  <a:gd name="T116" fmla="*/ 121 w 180"/>
                  <a:gd name="T117" fmla="*/ 23 h 349"/>
                  <a:gd name="T118" fmla="*/ 124 w 180"/>
                  <a:gd name="T119" fmla="*/ 12 h 349"/>
                  <a:gd name="T120" fmla="*/ 134 w 180"/>
                  <a:gd name="T121" fmla="*/ 6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80" h="349">
                    <a:moveTo>
                      <a:pt x="128" y="331"/>
                    </a:moveTo>
                    <a:lnTo>
                      <a:pt x="127" y="331"/>
                    </a:lnTo>
                    <a:lnTo>
                      <a:pt x="127" y="332"/>
                    </a:lnTo>
                    <a:lnTo>
                      <a:pt x="127" y="332"/>
                    </a:lnTo>
                    <a:lnTo>
                      <a:pt x="125" y="333"/>
                    </a:lnTo>
                    <a:lnTo>
                      <a:pt x="124" y="333"/>
                    </a:lnTo>
                    <a:lnTo>
                      <a:pt x="121" y="331"/>
                    </a:lnTo>
                    <a:lnTo>
                      <a:pt x="120" y="331"/>
                    </a:lnTo>
                    <a:lnTo>
                      <a:pt x="121" y="329"/>
                    </a:lnTo>
                    <a:lnTo>
                      <a:pt x="123" y="329"/>
                    </a:lnTo>
                    <a:lnTo>
                      <a:pt x="124" y="328"/>
                    </a:lnTo>
                    <a:lnTo>
                      <a:pt x="127" y="329"/>
                    </a:lnTo>
                    <a:lnTo>
                      <a:pt x="128" y="331"/>
                    </a:lnTo>
                    <a:close/>
                    <a:moveTo>
                      <a:pt x="72" y="253"/>
                    </a:moveTo>
                    <a:lnTo>
                      <a:pt x="72" y="253"/>
                    </a:lnTo>
                    <a:lnTo>
                      <a:pt x="75" y="253"/>
                    </a:lnTo>
                    <a:lnTo>
                      <a:pt x="74" y="254"/>
                    </a:lnTo>
                    <a:lnTo>
                      <a:pt x="72" y="255"/>
                    </a:lnTo>
                    <a:lnTo>
                      <a:pt x="71" y="257"/>
                    </a:lnTo>
                    <a:lnTo>
                      <a:pt x="68" y="258"/>
                    </a:lnTo>
                    <a:lnTo>
                      <a:pt x="68" y="257"/>
                    </a:lnTo>
                    <a:lnTo>
                      <a:pt x="67" y="257"/>
                    </a:lnTo>
                    <a:lnTo>
                      <a:pt x="66" y="254"/>
                    </a:lnTo>
                    <a:lnTo>
                      <a:pt x="66" y="251"/>
                    </a:lnTo>
                    <a:lnTo>
                      <a:pt x="67" y="250"/>
                    </a:lnTo>
                    <a:lnTo>
                      <a:pt x="70" y="250"/>
                    </a:lnTo>
                    <a:lnTo>
                      <a:pt x="72" y="253"/>
                    </a:lnTo>
                    <a:close/>
                    <a:moveTo>
                      <a:pt x="32" y="193"/>
                    </a:moveTo>
                    <a:lnTo>
                      <a:pt x="35" y="194"/>
                    </a:lnTo>
                    <a:lnTo>
                      <a:pt x="36" y="194"/>
                    </a:lnTo>
                    <a:lnTo>
                      <a:pt x="39" y="196"/>
                    </a:lnTo>
                    <a:lnTo>
                      <a:pt x="39" y="200"/>
                    </a:lnTo>
                    <a:lnTo>
                      <a:pt x="42" y="204"/>
                    </a:lnTo>
                    <a:lnTo>
                      <a:pt x="45" y="207"/>
                    </a:lnTo>
                    <a:lnTo>
                      <a:pt x="45" y="208"/>
                    </a:lnTo>
                    <a:lnTo>
                      <a:pt x="43" y="209"/>
                    </a:lnTo>
                    <a:lnTo>
                      <a:pt x="42" y="211"/>
                    </a:lnTo>
                    <a:lnTo>
                      <a:pt x="42" y="212"/>
                    </a:lnTo>
                    <a:lnTo>
                      <a:pt x="43" y="211"/>
                    </a:lnTo>
                    <a:lnTo>
                      <a:pt x="45" y="211"/>
                    </a:lnTo>
                    <a:lnTo>
                      <a:pt x="47" y="211"/>
                    </a:lnTo>
                    <a:lnTo>
                      <a:pt x="47" y="212"/>
                    </a:lnTo>
                    <a:lnTo>
                      <a:pt x="49" y="215"/>
                    </a:lnTo>
                    <a:lnTo>
                      <a:pt x="49" y="216"/>
                    </a:lnTo>
                    <a:lnTo>
                      <a:pt x="49" y="218"/>
                    </a:lnTo>
                    <a:lnTo>
                      <a:pt x="47" y="218"/>
                    </a:lnTo>
                    <a:lnTo>
                      <a:pt x="47" y="216"/>
                    </a:lnTo>
                    <a:lnTo>
                      <a:pt x="46" y="215"/>
                    </a:lnTo>
                    <a:lnTo>
                      <a:pt x="45" y="215"/>
                    </a:lnTo>
                    <a:lnTo>
                      <a:pt x="46" y="216"/>
                    </a:lnTo>
                    <a:lnTo>
                      <a:pt x="46" y="221"/>
                    </a:lnTo>
                    <a:lnTo>
                      <a:pt x="46" y="221"/>
                    </a:lnTo>
                    <a:lnTo>
                      <a:pt x="47" y="221"/>
                    </a:lnTo>
                    <a:lnTo>
                      <a:pt x="46" y="223"/>
                    </a:lnTo>
                    <a:lnTo>
                      <a:pt x="45" y="225"/>
                    </a:lnTo>
                    <a:lnTo>
                      <a:pt x="42" y="225"/>
                    </a:lnTo>
                    <a:lnTo>
                      <a:pt x="42" y="226"/>
                    </a:lnTo>
                    <a:lnTo>
                      <a:pt x="42" y="228"/>
                    </a:lnTo>
                    <a:lnTo>
                      <a:pt x="40" y="229"/>
                    </a:lnTo>
                    <a:lnTo>
                      <a:pt x="39" y="230"/>
                    </a:lnTo>
                    <a:lnTo>
                      <a:pt x="38" y="230"/>
                    </a:lnTo>
                    <a:lnTo>
                      <a:pt x="35" y="229"/>
                    </a:lnTo>
                    <a:lnTo>
                      <a:pt x="33" y="229"/>
                    </a:lnTo>
                    <a:lnTo>
                      <a:pt x="32" y="229"/>
                    </a:lnTo>
                    <a:lnTo>
                      <a:pt x="32" y="230"/>
                    </a:lnTo>
                    <a:lnTo>
                      <a:pt x="31" y="230"/>
                    </a:lnTo>
                    <a:lnTo>
                      <a:pt x="29" y="230"/>
                    </a:lnTo>
                    <a:lnTo>
                      <a:pt x="28" y="230"/>
                    </a:lnTo>
                    <a:lnTo>
                      <a:pt x="28" y="229"/>
                    </a:lnTo>
                    <a:lnTo>
                      <a:pt x="28" y="226"/>
                    </a:lnTo>
                    <a:lnTo>
                      <a:pt x="27" y="226"/>
                    </a:lnTo>
                    <a:lnTo>
                      <a:pt x="25" y="226"/>
                    </a:lnTo>
                    <a:lnTo>
                      <a:pt x="25" y="225"/>
                    </a:lnTo>
                    <a:lnTo>
                      <a:pt x="24" y="223"/>
                    </a:lnTo>
                    <a:lnTo>
                      <a:pt x="24" y="223"/>
                    </a:lnTo>
                    <a:lnTo>
                      <a:pt x="24" y="222"/>
                    </a:lnTo>
                    <a:lnTo>
                      <a:pt x="22" y="221"/>
                    </a:lnTo>
                    <a:lnTo>
                      <a:pt x="21" y="219"/>
                    </a:lnTo>
                    <a:lnTo>
                      <a:pt x="20" y="219"/>
                    </a:lnTo>
                    <a:lnTo>
                      <a:pt x="18" y="221"/>
                    </a:lnTo>
                    <a:lnTo>
                      <a:pt x="17" y="222"/>
                    </a:lnTo>
                    <a:lnTo>
                      <a:pt x="18" y="223"/>
                    </a:lnTo>
                    <a:lnTo>
                      <a:pt x="18" y="225"/>
                    </a:lnTo>
                    <a:lnTo>
                      <a:pt x="18" y="225"/>
                    </a:lnTo>
                    <a:lnTo>
                      <a:pt x="15" y="228"/>
                    </a:lnTo>
                    <a:lnTo>
                      <a:pt x="15" y="228"/>
                    </a:lnTo>
                    <a:lnTo>
                      <a:pt x="14" y="228"/>
                    </a:lnTo>
                    <a:lnTo>
                      <a:pt x="14" y="228"/>
                    </a:lnTo>
                    <a:lnTo>
                      <a:pt x="11" y="228"/>
                    </a:lnTo>
                    <a:lnTo>
                      <a:pt x="10" y="228"/>
                    </a:lnTo>
                    <a:lnTo>
                      <a:pt x="8" y="226"/>
                    </a:lnTo>
                    <a:lnTo>
                      <a:pt x="6" y="225"/>
                    </a:lnTo>
                    <a:lnTo>
                      <a:pt x="6" y="223"/>
                    </a:lnTo>
                    <a:lnTo>
                      <a:pt x="4" y="222"/>
                    </a:lnTo>
                    <a:lnTo>
                      <a:pt x="1" y="219"/>
                    </a:lnTo>
                    <a:lnTo>
                      <a:pt x="0" y="218"/>
                    </a:lnTo>
                    <a:lnTo>
                      <a:pt x="1" y="216"/>
                    </a:lnTo>
                    <a:lnTo>
                      <a:pt x="3" y="216"/>
                    </a:lnTo>
                    <a:lnTo>
                      <a:pt x="7" y="214"/>
                    </a:lnTo>
                    <a:lnTo>
                      <a:pt x="7" y="214"/>
                    </a:lnTo>
                    <a:lnTo>
                      <a:pt x="7" y="212"/>
                    </a:lnTo>
                    <a:lnTo>
                      <a:pt x="6" y="212"/>
                    </a:lnTo>
                    <a:lnTo>
                      <a:pt x="6" y="211"/>
                    </a:lnTo>
                    <a:lnTo>
                      <a:pt x="4" y="211"/>
                    </a:lnTo>
                    <a:lnTo>
                      <a:pt x="4" y="209"/>
                    </a:lnTo>
                    <a:lnTo>
                      <a:pt x="6" y="209"/>
                    </a:lnTo>
                    <a:lnTo>
                      <a:pt x="7" y="209"/>
                    </a:lnTo>
                    <a:lnTo>
                      <a:pt x="8" y="209"/>
                    </a:lnTo>
                    <a:lnTo>
                      <a:pt x="8" y="209"/>
                    </a:lnTo>
                    <a:lnTo>
                      <a:pt x="10" y="208"/>
                    </a:lnTo>
                    <a:lnTo>
                      <a:pt x="11" y="208"/>
                    </a:lnTo>
                    <a:lnTo>
                      <a:pt x="13" y="207"/>
                    </a:lnTo>
                    <a:lnTo>
                      <a:pt x="13" y="204"/>
                    </a:lnTo>
                    <a:lnTo>
                      <a:pt x="13" y="204"/>
                    </a:lnTo>
                    <a:lnTo>
                      <a:pt x="14" y="201"/>
                    </a:lnTo>
                    <a:lnTo>
                      <a:pt x="14" y="200"/>
                    </a:lnTo>
                    <a:lnTo>
                      <a:pt x="17" y="198"/>
                    </a:lnTo>
                    <a:lnTo>
                      <a:pt x="18" y="198"/>
                    </a:lnTo>
                    <a:lnTo>
                      <a:pt x="20" y="200"/>
                    </a:lnTo>
                    <a:lnTo>
                      <a:pt x="21" y="198"/>
                    </a:lnTo>
                    <a:lnTo>
                      <a:pt x="22" y="196"/>
                    </a:lnTo>
                    <a:lnTo>
                      <a:pt x="24" y="194"/>
                    </a:lnTo>
                    <a:lnTo>
                      <a:pt x="24" y="196"/>
                    </a:lnTo>
                    <a:lnTo>
                      <a:pt x="27" y="194"/>
                    </a:lnTo>
                    <a:lnTo>
                      <a:pt x="31" y="193"/>
                    </a:lnTo>
                    <a:lnTo>
                      <a:pt x="32" y="193"/>
                    </a:lnTo>
                    <a:close/>
                    <a:moveTo>
                      <a:pt x="56" y="186"/>
                    </a:moveTo>
                    <a:lnTo>
                      <a:pt x="53" y="186"/>
                    </a:lnTo>
                    <a:lnTo>
                      <a:pt x="53" y="186"/>
                    </a:lnTo>
                    <a:lnTo>
                      <a:pt x="52" y="186"/>
                    </a:lnTo>
                    <a:lnTo>
                      <a:pt x="50" y="182"/>
                    </a:lnTo>
                    <a:lnTo>
                      <a:pt x="50" y="179"/>
                    </a:lnTo>
                    <a:lnTo>
                      <a:pt x="52" y="179"/>
                    </a:lnTo>
                    <a:lnTo>
                      <a:pt x="52" y="177"/>
                    </a:lnTo>
                    <a:lnTo>
                      <a:pt x="53" y="177"/>
                    </a:lnTo>
                    <a:lnTo>
                      <a:pt x="54" y="179"/>
                    </a:lnTo>
                    <a:lnTo>
                      <a:pt x="54" y="179"/>
                    </a:lnTo>
                    <a:lnTo>
                      <a:pt x="56" y="183"/>
                    </a:lnTo>
                    <a:lnTo>
                      <a:pt x="56" y="184"/>
                    </a:lnTo>
                    <a:lnTo>
                      <a:pt x="56" y="186"/>
                    </a:lnTo>
                    <a:close/>
                    <a:moveTo>
                      <a:pt x="36" y="170"/>
                    </a:moveTo>
                    <a:lnTo>
                      <a:pt x="38" y="175"/>
                    </a:lnTo>
                    <a:lnTo>
                      <a:pt x="38" y="177"/>
                    </a:lnTo>
                    <a:lnTo>
                      <a:pt x="38" y="179"/>
                    </a:lnTo>
                    <a:lnTo>
                      <a:pt x="38" y="180"/>
                    </a:lnTo>
                    <a:lnTo>
                      <a:pt x="35" y="182"/>
                    </a:lnTo>
                    <a:lnTo>
                      <a:pt x="33" y="182"/>
                    </a:lnTo>
                    <a:lnTo>
                      <a:pt x="33" y="180"/>
                    </a:lnTo>
                    <a:lnTo>
                      <a:pt x="35" y="179"/>
                    </a:lnTo>
                    <a:lnTo>
                      <a:pt x="33" y="177"/>
                    </a:lnTo>
                    <a:lnTo>
                      <a:pt x="33" y="176"/>
                    </a:lnTo>
                    <a:lnTo>
                      <a:pt x="33" y="176"/>
                    </a:lnTo>
                    <a:lnTo>
                      <a:pt x="33" y="176"/>
                    </a:lnTo>
                    <a:lnTo>
                      <a:pt x="31" y="179"/>
                    </a:lnTo>
                    <a:lnTo>
                      <a:pt x="31" y="179"/>
                    </a:lnTo>
                    <a:lnTo>
                      <a:pt x="31" y="177"/>
                    </a:lnTo>
                    <a:lnTo>
                      <a:pt x="31" y="176"/>
                    </a:lnTo>
                    <a:lnTo>
                      <a:pt x="31" y="175"/>
                    </a:lnTo>
                    <a:lnTo>
                      <a:pt x="31" y="175"/>
                    </a:lnTo>
                    <a:lnTo>
                      <a:pt x="32" y="173"/>
                    </a:lnTo>
                    <a:lnTo>
                      <a:pt x="32" y="173"/>
                    </a:lnTo>
                    <a:lnTo>
                      <a:pt x="33" y="173"/>
                    </a:lnTo>
                    <a:lnTo>
                      <a:pt x="33" y="173"/>
                    </a:lnTo>
                    <a:lnTo>
                      <a:pt x="35" y="172"/>
                    </a:lnTo>
                    <a:lnTo>
                      <a:pt x="36" y="170"/>
                    </a:lnTo>
                    <a:close/>
                    <a:moveTo>
                      <a:pt x="40" y="175"/>
                    </a:moveTo>
                    <a:lnTo>
                      <a:pt x="39" y="175"/>
                    </a:lnTo>
                    <a:lnTo>
                      <a:pt x="39" y="175"/>
                    </a:lnTo>
                    <a:lnTo>
                      <a:pt x="38" y="175"/>
                    </a:lnTo>
                    <a:lnTo>
                      <a:pt x="38" y="173"/>
                    </a:lnTo>
                    <a:lnTo>
                      <a:pt x="38" y="172"/>
                    </a:lnTo>
                    <a:lnTo>
                      <a:pt x="39" y="170"/>
                    </a:lnTo>
                    <a:lnTo>
                      <a:pt x="40" y="169"/>
                    </a:lnTo>
                    <a:lnTo>
                      <a:pt x="40" y="169"/>
                    </a:lnTo>
                    <a:lnTo>
                      <a:pt x="40" y="169"/>
                    </a:lnTo>
                    <a:lnTo>
                      <a:pt x="40" y="168"/>
                    </a:lnTo>
                    <a:lnTo>
                      <a:pt x="43" y="165"/>
                    </a:lnTo>
                    <a:lnTo>
                      <a:pt x="43" y="165"/>
                    </a:lnTo>
                    <a:lnTo>
                      <a:pt x="45" y="165"/>
                    </a:lnTo>
                    <a:lnTo>
                      <a:pt x="43" y="169"/>
                    </a:lnTo>
                    <a:lnTo>
                      <a:pt x="40" y="175"/>
                    </a:lnTo>
                    <a:close/>
                    <a:moveTo>
                      <a:pt x="43" y="158"/>
                    </a:moveTo>
                    <a:lnTo>
                      <a:pt x="36" y="159"/>
                    </a:lnTo>
                    <a:lnTo>
                      <a:pt x="33" y="159"/>
                    </a:lnTo>
                    <a:lnTo>
                      <a:pt x="33" y="158"/>
                    </a:lnTo>
                    <a:lnTo>
                      <a:pt x="33" y="158"/>
                    </a:lnTo>
                    <a:lnTo>
                      <a:pt x="36" y="157"/>
                    </a:lnTo>
                    <a:lnTo>
                      <a:pt x="36" y="152"/>
                    </a:lnTo>
                    <a:lnTo>
                      <a:pt x="33" y="151"/>
                    </a:lnTo>
                    <a:lnTo>
                      <a:pt x="33" y="150"/>
                    </a:lnTo>
                    <a:lnTo>
                      <a:pt x="33" y="150"/>
                    </a:lnTo>
                    <a:lnTo>
                      <a:pt x="33" y="148"/>
                    </a:lnTo>
                    <a:lnTo>
                      <a:pt x="36" y="148"/>
                    </a:lnTo>
                    <a:lnTo>
                      <a:pt x="36" y="147"/>
                    </a:lnTo>
                    <a:lnTo>
                      <a:pt x="38" y="148"/>
                    </a:lnTo>
                    <a:lnTo>
                      <a:pt x="39" y="148"/>
                    </a:lnTo>
                    <a:lnTo>
                      <a:pt x="40" y="151"/>
                    </a:lnTo>
                    <a:lnTo>
                      <a:pt x="42" y="151"/>
                    </a:lnTo>
                    <a:lnTo>
                      <a:pt x="43" y="152"/>
                    </a:lnTo>
                    <a:lnTo>
                      <a:pt x="43" y="158"/>
                    </a:lnTo>
                    <a:close/>
                    <a:moveTo>
                      <a:pt x="28" y="150"/>
                    </a:moveTo>
                    <a:lnTo>
                      <a:pt x="28" y="150"/>
                    </a:lnTo>
                    <a:lnTo>
                      <a:pt x="27" y="150"/>
                    </a:lnTo>
                    <a:lnTo>
                      <a:pt x="29" y="147"/>
                    </a:lnTo>
                    <a:lnTo>
                      <a:pt x="31" y="147"/>
                    </a:lnTo>
                    <a:lnTo>
                      <a:pt x="31" y="147"/>
                    </a:lnTo>
                    <a:lnTo>
                      <a:pt x="29" y="148"/>
                    </a:lnTo>
                    <a:lnTo>
                      <a:pt x="28" y="150"/>
                    </a:lnTo>
                    <a:close/>
                    <a:moveTo>
                      <a:pt x="14" y="137"/>
                    </a:moveTo>
                    <a:lnTo>
                      <a:pt x="13" y="137"/>
                    </a:lnTo>
                    <a:lnTo>
                      <a:pt x="11" y="137"/>
                    </a:lnTo>
                    <a:lnTo>
                      <a:pt x="11" y="137"/>
                    </a:lnTo>
                    <a:lnTo>
                      <a:pt x="11" y="136"/>
                    </a:lnTo>
                    <a:lnTo>
                      <a:pt x="13" y="136"/>
                    </a:lnTo>
                    <a:lnTo>
                      <a:pt x="14" y="136"/>
                    </a:lnTo>
                    <a:lnTo>
                      <a:pt x="14" y="137"/>
                    </a:lnTo>
                    <a:lnTo>
                      <a:pt x="14" y="137"/>
                    </a:lnTo>
                    <a:close/>
                    <a:moveTo>
                      <a:pt x="35" y="137"/>
                    </a:moveTo>
                    <a:lnTo>
                      <a:pt x="33" y="137"/>
                    </a:lnTo>
                    <a:lnTo>
                      <a:pt x="33" y="137"/>
                    </a:lnTo>
                    <a:lnTo>
                      <a:pt x="32" y="137"/>
                    </a:lnTo>
                    <a:lnTo>
                      <a:pt x="32" y="136"/>
                    </a:lnTo>
                    <a:lnTo>
                      <a:pt x="33" y="134"/>
                    </a:lnTo>
                    <a:lnTo>
                      <a:pt x="35" y="134"/>
                    </a:lnTo>
                    <a:lnTo>
                      <a:pt x="35" y="136"/>
                    </a:lnTo>
                    <a:lnTo>
                      <a:pt x="35" y="136"/>
                    </a:lnTo>
                    <a:lnTo>
                      <a:pt x="35" y="137"/>
                    </a:lnTo>
                    <a:close/>
                    <a:moveTo>
                      <a:pt x="17" y="131"/>
                    </a:moveTo>
                    <a:lnTo>
                      <a:pt x="15" y="131"/>
                    </a:lnTo>
                    <a:lnTo>
                      <a:pt x="15" y="131"/>
                    </a:lnTo>
                    <a:lnTo>
                      <a:pt x="14" y="131"/>
                    </a:lnTo>
                    <a:lnTo>
                      <a:pt x="14" y="130"/>
                    </a:lnTo>
                    <a:lnTo>
                      <a:pt x="14" y="129"/>
                    </a:lnTo>
                    <a:lnTo>
                      <a:pt x="14" y="126"/>
                    </a:lnTo>
                    <a:lnTo>
                      <a:pt x="14" y="123"/>
                    </a:lnTo>
                    <a:lnTo>
                      <a:pt x="15" y="123"/>
                    </a:lnTo>
                    <a:lnTo>
                      <a:pt x="17" y="123"/>
                    </a:lnTo>
                    <a:lnTo>
                      <a:pt x="17" y="131"/>
                    </a:lnTo>
                    <a:lnTo>
                      <a:pt x="17" y="131"/>
                    </a:lnTo>
                    <a:close/>
                    <a:moveTo>
                      <a:pt x="36" y="119"/>
                    </a:moveTo>
                    <a:lnTo>
                      <a:pt x="36" y="120"/>
                    </a:lnTo>
                    <a:lnTo>
                      <a:pt x="36" y="122"/>
                    </a:lnTo>
                    <a:lnTo>
                      <a:pt x="36" y="124"/>
                    </a:lnTo>
                    <a:lnTo>
                      <a:pt x="36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42" y="127"/>
                    </a:lnTo>
                    <a:lnTo>
                      <a:pt x="45" y="127"/>
                    </a:lnTo>
                    <a:lnTo>
                      <a:pt x="45" y="127"/>
                    </a:lnTo>
                    <a:lnTo>
                      <a:pt x="45" y="129"/>
                    </a:lnTo>
                    <a:lnTo>
                      <a:pt x="45" y="129"/>
                    </a:lnTo>
                    <a:lnTo>
                      <a:pt x="43" y="131"/>
                    </a:lnTo>
                    <a:lnTo>
                      <a:pt x="40" y="134"/>
                    </a:lnTo>
                    <a:lnTo>
                      <a:pt x="40" y="134"/>
                    </a:lnTo>
                    <a:lnTo>
                      <a:pt x="39" y="134"/>
                    </a:lnTo>
                    <a:lnTo>
                      <a:pt x="39" y="134"/>
                    </a:lnTo>
                    <a:lnTo>
                      <a:pt x="39" y="129"/>
                    </a:lnTo>
                    <a:lnTo>
                      <a:pt x="36" y="130"/>
                    </a:lnTo>
                    <a:lnTo>
                      <a:pt x="35" y="130"/>
                    </a:lnTo>
                    <a:lnTo>
                      <a:pt x="33" y="129"/>
                    </a:lnTo>
                    <a:lnTo>
                      <a:pt x="32" y="127"/>
                    </a:lnTo>
                    <a:lnTo>
                      <a:pt x="31" y="124"/>
                    </a:lnTo>
                    <a:lnTo>
                      <a:pt x="27" y="123"/>
                    </a:lnTo>
                    <a:lnTo>
                      <a:pt x="27" y="122"/>
                    </a:lnTo>
                    <a:lnTo>
                      <a:pt x="25" y="120"/>
                    </a:lnTo>
                    <a:lnTo>
                      <a:pt x="25" y="120"/>
                    </a:lnTo>
                    <a:lnTo>
                      <a:pt x="27" y="119"/>
                    </a:lnTo>
                    <a:lnTo>
                      <a:pt x="28" y="120"/>
                    </a:lnTo>
                    <a:lnTo>
                      <a:pt x="28" y="119"/>
                    </a:lnTo>
                    <a:lnTo>
                      <a:pt x="29" y="119"/>
                    </a:lnTo>
                    <a:lnTo>
                      <a:pt x="29" y="119"/>
                    </a:lnTo>
                    <a:lnTo>
                      <a:pt x="28" y="117"/>
                    </a:lnTo>
                    <a:lnTo>
                      <a:pt x="28" y="117"/>
                    </a:lnTo>
                    <a:lnTo>
                      <a:pt x="32" y="116"/>
                    </a:lnTo>
                    <a:lnTo>
                      <a:pt x="33" y="113"/>
                    </a:lnTo>
                    <a:lnTo>
                      <a:pt x="33" y="113"/>
                    </a:lnTo>
                    <a:lnTo>
                      <a:pt x="35" y="113"/>
                    </a:lnTo>
                    <a:lnTo>
                      <a:pt x="36" y="116"/>
                    </a:lnTo>
                    <a:lnTo>
                      <a:pt x="36" y="119"/>
                    </a:lnTo>
                    <a:close/>
                    <a:moveTo>
                      <a:pt x="17" y="113"/>
                    </a:moveTo>
                    <a:lnTo>
                      <a:pt x="20" y="115"/>
                    </a:lnTo>
                    <a:lnTo>
                      <a:pt x="18" y="117"/>
                    </a:lnTo>
                    <a:lnTo>
                      <a:pt x="15" y="117"/>
                    </a:lnTo>
                    <a:lnTo>
                      <a:pt x="11" y="116"/>
                    </a:lnTo>
                    <a:lnTo>
                      <a:pt x="11" y="115"/>
                    </a:lnTo>
                    <a:lnTo>
                      <a:pt x="13" y="115"/>
                    </a:lnTo>
                    <a:lnTo>
                      <a:pt x="13" y="113"/>
                    </a:lnTo>
                    <a:lnTo>
                      <a:pt x="13" y="113"/>
                    </a:lnTo>
                    <a:lnTo>
                      <a:pt x="14" y="115"/>
                    </a:lnTo>
                    <a:lnTo>
                      <a:pt x="15" y="113"/>
                    </a:lnTo>
                    <a:lnTo>
                      <a:pt x="17" y="113"/>
                    </a:lnTo>
                    <a:lnTo>
                      <a:pt x="17" y="113"/>
                    </a:lnTo>
                    <a:close/>
                    <a:moveTo>
                      <a:pt x="36" y="90"/>
                    </a:moveTo>
                    <a:lnTo>
                      <a:pt x="33" y="95"/>
                    </a:lnTo>
                    <a:lnTo>
                      <a:pt x="32" y="95"/>
                    </a:lnTo>
                    <a:lnTo>
                      <a:pt x="32" y="97"/>
                    </a:lnTo>
                    <a:lnTo>
                      <a:pt x="29" y="99"/>
                    </a:lnTo>
                    <a:lnTo>
                      <a:pt x="31" y="99"/>
                    </a:lnTo>
                    <a:lnTo>
                      <a:pt x="32" y="99"/>
                    </a:lnTo>
                    <a:lnTo>
                      <a:pt x="32" y="101"/>
                    </a:lnTo>
                    <a:lnTo>
                      <a:pt x="32" y="101"/>
                    </a:lnTo>
                    <a:lnTo>
                      <a:pt x="29" y="104"/>
                    </a:lnTo>
                    <a:lnTo>
                      <a:pt x="27" y="105"/>
                    </a:lnTo>
                    <a:lnTo>
                      <a:pt x="25" y="108"/>
                    </a:lnTo>
                    <a:lnTo>
                      <a:pt x="24" y="108"/>
                    </a:lnTo>
                    <a:lnTo>
                      <a:pt x="22" y="109"/>
                    </a:lnTo>
                    <a:lnTo>
                      <a:pt x="22" y="111"/>
                    </a:lnTo>
                    <a:lnTo>
                      <a:pt x="21" y="111"/>
                    </a:lnTo>
                    <a:lnTo>
                      <a:pt x="21" y="111"/>
                    </a:lnTo>
                    <a:lnTo>
                      <a:pt x="20" y="108"/>
                    </a:lnTo>
                    <a:lnTo>
                      <a:pt x="22" y="106"/>
                    </a:lnTo>
                    <a:lnTo>
                      <a:pt x="22" y="106"/>
                    </a:lnTo>
                    <a:lnTo>
                      <a:pt x="24" y="105"/>
                    </a:lnTo>
                    <a:lnTo>
                      <a:pt x="24" y="105"/>
                    </a:lnTo>
                    <a:lnTo>
                      <a:pt x="21" y="104"/>
                    </a:lnTo>
                    <a:lnTo>
                      <a:pt x="20" y="102"/>
                    </a:lnTo>
                    <a:lnTo>
                      <a:pt x="20" y="101"/>
                    </a:lnTo>
                    <a:lnTo>
                      <a:pt x="21" y="101"/>
                    </a:lnTo>
                    <a:lnTo>
                      <a:pt x="21" y="101"/>
                    </a:lnTo>
                    <a:lnTo>
                      <a:pt x="21" y="99"/>
                    </a:lnTo>
                    <a:lnTo>
                      <a:pt x="20" y="99"/>
                    </a:lnTo>
                    <a:lnTo>
                      <a:pt x="20" y="99"/>
                    </a:lnTo>
                    <a:lnTo>
                      <a:pt x="20" y="97"/>
                    </a:lnTo>
                    <a:lnTo>
                      <a:pt x="20" y="95"/>
                    </a:lnTo>
                    <a:lnTo>
                      <a:pt x="21" y="95"/>
                    </a:lnTo>
                    <a:lnTo>
                      <a:pt x="21" y="94"/>
                    </a:lnTo>
                    <a:lnTo>
                      <a:pt x="21" y="94"/>
                    </a:lnTo>
                    <a:lnTo>
                      <a:pt x="22" y="95"/>
                    </a:lnTo>
                    <a:lnTo>
                      <a:pt x="24" y="95"/>
                    </a:lnTo>
                    <a:lnTo>
                      <a:pt x="25" y="95"/>
                    </a:lnTo>
                    <a:lnTo>
                      <a:pt x="27" y="95"/>
                    </a:lnTo>
                    <a:lnTo>
                      <a:pt x="27" y="95"/>
                    </a:lnTo>
                    <a:lnTo>
                      <a:pt x="25" y="92"/>
                    </a:lnTo>
                    <a:lnTo>
                      <a:pt x="25" y="91"/>
                    </a:lnTo>
                    <a:lnTo>
                      <a:pt x="25" y="91"/>
                    </a:lnTo>
                    <a:lnTo>
                      <a:pt x="29" y="88"/>
                    </a:lnTo>
                    <a:lnTo>
                      <a:pt x="33" y="85"/>
                    </a:lnTo>
                    <a:lnTo>
                      <a:pt x="35" y="84"/>
                    </a:lnTo>
                    <a:lnTo>
                      <a:pt x="35" y="85"/>
                    </a:lnTo>
                    <a:lnTo>
                      <a:pt x="36" y="87"/>
                    </a:lnTo>
                    <a:lnTo>
                      <a:pt x="36" y="90"/>
                    </a:lnTo>
                    <a:close/>
                    <a:moveTo>
                      <a:pt x="92" y="84"/>
                    </a:moveTo>
                    <a:lnTo>
                      <a:pt x="92" y="87"/>
                    </a:lnTo>
                    <a:lnTo>
                      <a:pt x="92" y="88"/>
                    </a:lnTo>
                    <a:lnTo>
                      <a:pt x="91" y="90"/>
                    </a:lnTo>
                    <a:lnTo>
                      <a:pt x="91" y="91"/>
                    </a:lnTo>
                    <a:lnTo>
                      <a:pt x="86" y="94"/>
                    </a:lnTo>
                    <a:lnTo>
                      <a:pt x="79" y="101"/>
                    </a:lnTo>
                    <a:lnTo>
                      <a:pt x="75" y="104"/>
                    </a:lnTo>
                    <a:lnTo>
                      <a:pt x="75" y="105"/>
                    </a:lnTo>
                    <a:lnTo>
                      <a:pt x="75" y="108"/>
                    </a:lnTo>
                    <a:lnTo>
                      <a:pt x="77" y="108"/>
                    </a:lnTo>
                    <a:lnTo>
                      <a:pt x="78" y="108"/>
                    </a:lnTo>
                    <a:lnTo>
                      <a:pt x="78" y="109"/>
                    </a:lnTo>
                    <a:lnTo>
                      <a:pt x="74" y="113"/>
                    </a:lnTo>
                    <a:lnTo>
                      <a:pt x="72" y="116"/>
                    </a:lnTo>
                    <a:lnTo>
                      <a:pt x="75" y="116"/>
                    </a:lnTo>
                    <a:lnTo>
                      <a:pt x="78" y="116"/>
                    </a:lnTo>
                    <a:lnTo>
                      <a:pt x="82" y="113"/>
                    </a:lnTo>
                    <a:lnTo>
                      <a:pt x="86" y="112"/>
                    </a:lnTo>
                    <a:lnTo>
                      <a:pt x="88" y="112"/>
                    </a:lnTo>
                    <a:lnTo>
                      <a:pt x="92" y="113"/>
                    </a:lnTo>
                    <a:lnTo>
                      <a:pt x="93" y="113"/>
                    </a:lnTo>
                    <a:lnTo>
                      <a:pt x="95" y="112"/>
                    </a:lnTo>
                    <a:lnTo>
                      <a:pt x="96" y="112"/>
                    </a:lnTo>
                    <a:lnTo>
                      <a:pt x="107" y="113"/>
                    </a:lnTo>
                    <a:lnTo>
                      <a:pt x="110" y="112"/>
                    </a:lnTo>
                    <a:lnTo>
                      <a:pt x="113" y="113"/>
                    </a:lnTo>
                    <a:lnTo>
                      <a:pt x="114" y="115"/>
                    </a:lnTo>
                    <a:lnTo>
                      <a:pt x="116" y="119"/>
                    </a:lnTo>
                    <a:lnTo>
                      <a:pt x="116" y="120"/>
                    </a:lnTo>
                    <a:lnTo>
                      <a:pt x="114" y="122"/>
                    </a:lnTo>
                    <a:lnTo>
                      <a:pt x="113" y="124"/>
                    </a:lnTo>
                    <a:lnTo>
                      <a:pt x="111" y="127"/>
                    </a:lnTo>
                    <a:lnTo>
                      <a:pt x="111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07" y="140"/>
                    </a:lnTo>
                    <a:lnTo>
                      <a:pt x="105" y="145"/>
                    </a:lnTo>
                    <a:lnTo>
                      <a:pt x="103" y="148"/>
                    </a:lnTo>
                    <a:lnTo>
                      <a:pt x="102" y="151"/>
                    </a:lnTo>
                    <a:lnTo>
                      <a:pt x="99" y="152"/>
                    </a:lnTo>
                    <a:lnTo>
                      <a:pt x="98" y="152"/>
                    </a:lnTo>
                    <a:lnTo>
                      <a:pt x="93" y="154"/>
                    </a:lnTo>
                    <a:lnTo>
                      <a:pt x="92" y="155"/>
                    </a:lnTo>
                    <a:lnTo>
                      <a:pt x="89" y="157"/>
                    </a:lnTo>
                    <a:lnTo>
                      <a:pt x="88" y="157"/>
                    </a:lnTo>
                    <a:lnTo>
                      <a:pt x="91" y="157"/>
                    </a:lnTo>
                    <a:lnTo>
                      <a:pt x="92" y="157"/>
                    </a:lnTo>
                    <a:lnTo>
                      <a:pt x="96" y="155"/>
                    </a:lnTo>
                    <a:lnTo>
                      <a:pt x="100" y="158"/>
                    </a:lnTo>
                    <a:lnTo>
                      <a:pt x="100" y="161"/>
                    </a:lnTo>
                    <a:lnTo>
                      <a:pt x="98" y="162"/>
                    </a:lnTo>
                    <a:lnTo>
                      <a:pt x="95" y="162"/>
                    </a:lnTo>
                    <a:lnTo>
                      <a:pt x="91" y="166"/>
                    </a:lnTo>
                    <a:lnTo>
                      <a:pt x="89" y="168"/>
                    </a:lnTo>
                    <a:lnTo>
                      <a:pt x="88" y="168"/>
                    </a:lnTo>
                    <a:lnTo>
                      <a:pt x="85" y="168"/>
                    </a:lnTo>
                    <a:lnTo>
                      <a:pt x="81" y="166"/>
                    </a:lnTo>
                    <a:lnTo>
                      <a:pt x="79" y="165"/>
                    </a:lnTo>
                    <a:lnTo>
                      <a:pt x="81" y="168"/>
                    </a:lnTo>
                    <a:lnTo>
                      <a:pt x="82" y="168"/>
                    </a:lnTo>
                    <a:lnTo>
                      <a:pt x="93" y="170"/>
                    </a:lnTo>
                    <a:lnTo>
                      <a:pt x="93" y="170"/>
                    </a:lnTo>
                    <a:lnTo>
                      <a:pt x="96" y="168"/>
                    </a:lnTo>
                    <a:lnTo>
                      <a:pt x="102" y="168"/>
                    </a:lnTo>
                    <a:lnTo>
                      <a:pt x="109" y="172"/>
                    </a:lnTo>
                    <a:lnTo>
                      <a:pt x="111" y="175"/>
                    </a:lnTo>
                    <a:lnTo>
                      <a:pt x="116" y="179"/>
                    </a:lnTo>
                    <a:lnTo>
                      <a:pt x="117" y="182"/>
                    </a:lnTo>
                    <a:lnTo>
                      <a:pt x="118" y="183"/>
                    </a:lnTo>
                    <a:lnTo>
                      <a:pt x="118" y="184"/>
                    </a:lnTo>
                    <a:lnTo>
                      <a:pt x="121" y="193"/>
                    </a:lnTo>
                    <a:lnTo>
                      <a:pt x="123" y="200"/>
                    </a:lnTo>
                    <a:lnTo>
                      <a:pt x="125" y="208"/>
                    </a:lnTo>
                    <a:lnTo>
                      <a:pt x="125" y="209"/>
                    </a:lnTo>
                    <a:lnTo>
                      <a:pt x="127" y="211"/>
                    </a:lnTo>
                    <a:lnTo>
                      <a:pt x="134" y="215"/>
                    </a:lnTo>
                    <a:lnTo>
                      <a:pt x="137" y="216"/>
                    </a:lnTo>
                    <a:lnTo>
                      <a:pt x="139" y="219"/>
                    </a:lnTo>
                    <a:lnTo>
                      <a:pt x="142" y="223"/>
                    </a:lnTo>
                    <a:lnTo>
                      <a:pt x="144" y="226"/>
                    </a:lnTo>
                    <a:lnTo>
                      <a:pt x="146" y="228"/>
                    </a:lnTo>
                    <a:lnTo>
                      <a:pt x="145" y="229"/>
                    </a:lnTo>
                    <a:lnTo>
                      <a:pt x="145" y="232"/>
                    </a:lnTo>
                    <a:lnTo>
                      <a:pt x="145" y="233"/>
                    </a:lnTo>
                    <a:lnTo>
                      <a:pt x="146" y="236"/>
                    </a:lnTo>
                    <a:lnTo>
                      <a:pt x="149" y="240"/>
                    </a:lnTo>
                    <a:lnTo>
                      <a:pt x="151" y="244"/>
                    </a:lnTo>
                    <a:lnTo>
                      <a:pt x="149" y="243"/>
                    </a:lnTo>
                    <a:lnTo>
                      <a:pt x="149" y="243"/>
                    </a:lnTo>
                    <a:lnTo>
                      <a:pt x="148" y="243"/>
                    </a:lnTo>
                    <a:lnTo>
                      <a:pt x="146" y="243"/>
                    </a:lnTo>
                    <a:lnTo>
                      <a:pt x="145" y="242"/>
                    </a:lnTo>
                    <a:lnTo>
                      <a:pt x="144" y="240"/>
                    </a:lnTo>
                    <a:lnTo>
                      <a:pt x="139" y="240"/>
                    </a:lnTo>
                    <a:lnTo>
                      <a:pt x="138" y="240"/>
                    </a:lnTo>
                    <a:lnTo>
                      <a:pt x="137" y="240"/>
                    </a:lnTo>
                    <a:lnTo>
                      <a:pt x="139" y="242"/>
                    </a:lnTo>
                    <a:lnTo>
                      <a:pt x="144" y="242"/>
                    </a:lnTo>
                    <a:lnTo>
                      <a:pt x="151" y="248"/>
                    </a:lnTo>
                    <a:lnTo>
                      <a:pt x="153" y="253"/>
                    </a:lnTo>
                    <a:lnTo>
                      <a:pt x="155" y="257"/>
                    </a:lnTo>
                    <a:lnTo>
                      <a:pt x="153" y="260"/>
                    </a:lnTo>
                    <a:lnTo>
                      <a:pt x="152" y="261"/>
                    </a:lnTo>
                    <a:lnTo>
                      <a:pt x="151" y="264"/>
                    </a:lnTo>
                    <a:lnTo>
                      <a:pt x="149" y="265"/>
                    </a:lnTo>
                    <a:lnTo>
                      <a:pt x="153" y="268"/>
                    </a:lnTo>
                    <a:lnTo>
                      <a:pt x="155" y="268"/>
                    </a:lnTo>
                    <a:lnTo>
                      <a:pt x="155" y="268"/>
                    </a:lnTo>
                    <a:lnTo>
                      <a:pt x="156" y="267"/>
                    </a:lnTo>
                    <a:lnTo>
                      <a:pt x="157" y="264"/>
                    </a:lnTo>
                    <a:lnTo>
                      <a:pt x="159" y="264"/>
                    </a:lnTo>
                    <a:lnTo>
                      <a:pt x="162" y="262"/>
                    </a:lnTo>
                    <a:lnTo>
                      <a:pt x="163" y="264"/>
                    </a:lnTo>
                    <a:lnTo>
                      <a:pt x="166" y="264"/>
                    </a:lnTo>
                    <a:lnTo>
                      <a:pt x="167" y="264"/>
                    </a:lnTo>
                    <a:lnTo>
                      <a:pt x="171" y="265"/>
                    </a:lnTo>
                    <a:lnTo>
                      <a:pt x="173" y="265"/>
                    </a:lnTo>
                    <a:lnTo>
                      <a:pt x="178" y="269"/>
                    </a:lnTo>
                    <a:lnTo>
                      <a:pt x="180" y="272"/>
                    </a:lnTo>
                    <a:lnTo>
                      <a:pt x="180" y="275"/>
                    </a:lnTo>
                    <a:lnTo>
                      <a:pt x="180" y="278"/>
                    </a:lnTo>
                    <a:lnTo>
                      <a:pt x="180" y="281"/>
                    </a:lnTo>
                    <a:lnTo>
                      <a:pt x="178" y="283"/>
                    </a:lnTo>
                    <a:lnTo>
                      <a:pt x="177" y="288"/>
                    </a:lnTo>
                    <a:lnTo>
                      <a:pt x="177" y="289"/>
                    </a:lnTo>
                    <a:lnTo>
                      <a:pt x="177" y="289"/>
                    </a:lnTo>
                    <a:lnTo>
                      <a:pt x="174" y="292"/>
                    </a:lnTo>
                    <a:lnTo>
                      <a:pt x="173" y="293"/>
                    </a:lnTo>
                    <a:lnTo>
                      <a:pt x="171" y="293"/>
                    </a:lnTo>
                    <a:lnTo>
                      <a:pt x="170" y="293"/>
                    </a:lnTo>
                    <a:lnTo>
                      <a:pt x="170" y="293"/>
                    </a:lnTo>
                    <a:lnTo>
                      <a:pt x="171" y="294"/>
                    </a:lnTo>
                    <a:lnTo>
                      <a:pt x="171" y="297"/>
                    </a:lnTo>
                    <a:lnTo>
                      <a:pt x="170" y="297"/>
                    </a:lnTo>
                    <a:lnTo>
                      <a:pt x="169" y="299"/>
                    </a:lnTo>
                    <a:lnTo>
                      <a:pt x="166" y="297"/>
                    </a:lnTo>
                    <a:lnTo>
                      <a:pt x="162" y="300"/>
                    </a:lnTo>
                    <a:lnTo>
                      <a:pt x="164" y="301"/>
                    </a:lnTo>
                    <a:lnTo>
                      <a:pt x="164" y="303"/>
                    </a:lnTo>
                    <a:lnTo>
                      <a:pt x="164" y="304"/>
                    </a:lnTo>
                    <a:lnTo>
                      <a:pt x="163" y="306"/>
                    </a:lnTo>
                    <a:lnTo>
                      <a:pt x="160" y="306"/>
                    </a:lnTo>
                    <a:lnTo>
                      <a:pt x="159" y="306"/>
                    </a:lnTo>
                    <a:lnTo>
                      <a:pt x="157" y="307"/>
                    </a:lnTo>
                    <a:lnTo>
                      <a:pt x="156" y="308"/>
                    </a:lnTo>
                    <a:lnTo>
                      <a:pt x="157" y="307"/>
                    </a:lnTo>
                    <a:lnTo>
                      <a:pt x="159" y="307"/>
                    </a:lnTo>
                    <a:lnTo>
                      <a:pt x="160" y="310"/>
                    </a:lnTo>
                    <a:lnTo>
                      <a:pt x="160" y="310"/>
                    </a:lnTo>
                    <a:lnTo>
                      <a:pt x="164" y="311"/>
                    </a:lnTo>
                    <a:lnTo>
                      <a:pt x="167" y="311"/>
                    </a:lnTo>
                    <a:lnTo>
                      <a:pt x="171" y="310"/>
                    </a:lnTo>
                    <a:lnTo>
                      <a:pt x="173" y="310"/>
                    </a:lnTo>
                    <a:lnTo>
                      <a:pt x="174" y="311"/>
                    </a:lnTo>
                    <a:lnTo>
                      <a:pt x="174" y="313"/>
                    </a:lnTo>
                    <a:lnTo>
                      <a:pt x="174" y="315"/>
                    </a:lnTo>
                    <a:lnTo>
                      <a:pt x="173" y="317"/>
                    </a:lnTo>
                    <a:lnTo>
                      <a:pt x="167" y="320"/>
                    </a:lnTo>
                    <a:lnTo>
                      <a:pt x="166" y="322"/>
                    </a:lnTo>
                    <a:lnTo>
                      <a:pt x="166" y="324"/>
                    </a:lnTo>
                    <a:lnTo>
                      <a:pt x="162" y="324"/>
                    </a:lnTo>
                    <a:lnTo>
                      <a:pt x="160" y="325"/>
                    </a:lnTo>
                    <a:lnTo>
                      <a:pt x="157" y="325"/>
                    </a:lnTo>
                    <a:lnTo>
                      <a:pt x="156" y="327"/>
                    </a:lnTo>
                    <a:lnTo>
                      <a:pt x="153" y="328"/>
                    </a:lnTo>
                    <a:lnTo>
                      <a:pt x="152" y="328"/>
                    </a:lnTo>
                    <a:lnTo>
                      <a:pt x="145" y="327"/>
                    </a:lnTo>
                    <a:lnTo>
                      <a:pt x="141" y="327"/>
                    </a:lnTo>
                    <a:lnTo>
                      <a:pt x="134" y="328"/>
                    </a:lnTo>
                    <a:lnTo>
                      <a:pt x="132" y="328"/>
                    </a:lnTo>
                    <a:lnTo>
                      <a:pt x="130" y="327"/>
                    </a:lnTo>
                    <a:lnTo>
                      <a:pt x="128" y="325"/>
                    </a:lnTo>
                    <a:lnTo>
                      <a:pt x="125" y="325"/>
                    </a:lnTo>
                    <a:lnTo>
                      <a:pt x="123" y="324"/>
                    </a:lnTo>
                    <a:lnTo>
                      <a:pt x="124" y="327"/>
                    </a:lnTo>
                    <a:lnTo>
                      <a:pt x="121" y="328"/>
                    </a:lnTo>
                    <a:lnTo>
                      <a:pt x="120" y="329"/>
                    </a:lnTo>
                    <a:lnTo>
                      <a:pt x="117" y="329"/>
                    </a:lnTo>
                    <a:lnTo>
                      <a:pt x="114" y="329"/>
                    </a:lnTo>
                    <a:lnTo>
                      <a:pt x="111" y="329"/>
                    </a:lnTo>
                    <a:lnTo>
                      <a:pt x="111" y="331"/>
                    </a:lnTo>
                    <a:lnTo>
                      <a:pt x="113" y="332"/>
                    </a:lnTo>
                    <a:lnTo>
                      <a:pt x="111" y="332"/>
                    </a:lnTo>
                    <a:lnTo>
                      <a:pt x="111" y="332"/>
                    </a:lnTo>
                    <a:lnTo>
                      <a:pt x="106" y="332"/>
                    </a:lnTo>
                    <a:lnTo>
                      <a:pt x="105" y="332"/>
                    </a:lnTo>
                    <a:lnTo>
                      <a:pt x="105" y="332"/>
                    </a:lnTo>
                    <a:lnTo>
                      <a:pt x="102" y="332"/>
                    </a:lnTo>
                    <a:lnTo>
                      <a:pt x="100" y="331"/>
                    </a:lnTo>
                    <a:lnTo>
                      <a:pt x="98" y="329"/>
                    </a:lnTo>
                    <a:lnTo>
                      <a:pt x="96" y="329"/>
                    </a:lnTo>
                    <a:lnTo>
                      <a:pt x="93" y="329"/>
                    </a:lnTo>
                    <a:lnTo>
                      <a:pt x="86" y="332"/>
                    </a:lnTo>
                    <a:lnTo>
                      <a:pt x="85" y="333"/>
                    </a:lnTo>
                    <a:lnTo>
                      <a:pt x="84" y="338"/>
                    </a:lnTo>
                    <a:lnTo>
                      <a:pt x="84" y="340"/>
                    </a:lnTo>
                    <a:lnTo>
                      <a:pt x="81" y="343"/>
                    </a:lnTo>
                    <a:lnTo>
                      <a:pt x="79" y="343"/>
                    </a:lnTo>
                    <a:lnTo>
                      <a:pt x="78" y="342"/>
                    </a:lnTo>
                    <a:lnTo>
                      <a:pt x="74" y="340"/>
                    </a:lnTo>
                    <a:lnTo>
                      <a:pt x="72" y="339"/>
                    </a:lnTo>
                    <a:lnTo>
                      <a:pt x="72" y="339"/>
                    </a:lnTo>
                    <a:lnTo>
                      <a:pt x="71" y="339"/>
                    </a:lnTo>
                    <a:lnTo>
                      <a:pt x="70" y="339"/>
                    </a:lnTo>
                    <a:lnTo>
                      <a:pt x="68" y="339"/>
                    </a:lnTo>
                    <a:lnTo>
                      <a:pt x="67" y="340"/>
                    </a:lnTo>
                    <a:lnTo>
                      <a:pt x="63" y="342"/>
                    </a:lnTo>
                    <a:lnTo>
                      <a:pt x="61" y="342"/>
                    </a:lnTo>
                    <a:lnTo>
                      <a:pt x="57" y="345"/>
                    </a:lnTo>
                    <a:lnTo>
                      <a:pt x="57" y="346"/>
                    </a:lnTo>
                    <a:lnTo>
                      <a:pt x="56" y="349"/>
                    </a:lnTo>
                    <a:lnTo>
                      <a:pt x="53" y="349"/>
                    </a:lnTo>
                    <a:lnTo>
                      <a:pt x="52" y="347"/>
                    </a:lnTo>
                    <a:lnTo>
                      <a:pt x="50" y="346"/>
                    </a:lnTo>
                    <a:lnTo>
                      <a:pt x="47" y="347"/>
                    </a:lnTo>
                    <a:lnTo>
                      <a:pt x="46" y="349"/>
                    </a:lnTo>
                    <a:lnTo>
                      <a:pt x="46" y="347"/>
                    </a:lnTo>
                    <a:lnTo>
                      <a:pt x="46" y="346"/>
                    </a:lnTo>
                    <a:lnTo>
                      <a:pt x="47" y="345"/>
                    </a:lnTo>
                    <a:lnTo>
                      <a:pt x="52" y="343"/>
                    </a:lnTo>
                    <a:lnTo>
                      <a:pt x="54" y="339"/>
                    </a:lnTo>
                    <a:lnTo>
                      <a:pt x="57" y="336"/>
                    </a:lnTo>
                    <a:lnTo>
                      <a:pt x="57" y="336"/>
                    </a:lnTo>
                    <a:lnTo>
                      <a:pt x="59" y="335"/>
                    </a:lnTo>
                    <a:lnTo>
                      <a:pt x="60" y="335"/>
                    </a:lnTo>
                    <a:lnTo>
                      <a:pt x="60" y="333"/>
                    </a:lnTo>
                    <a:lnTo>
                      <a:pt x="66" y="328"/>
                    </a:lnTo>
                    <a:lnTo>
                      <a:pt x="66" y="327"/>
                    </a:lnTo>
                    <a:lnTo>
                      <a:pt x="66" y="324"/>
                    </a:lnTo>
                    <a:lnTo>
                      <a:pt x="66" y="322"/>
                    </a:lnTo>
                    <a:lnTo>
                      <a:pt x="70" y="321"/>
                    </a:lnTo>
                    <a:lnTo>
                      <a:pt x="72" y="315"/>
                    </a:lnTo>
                    <a:lnTo>
                      <a:pt x="72" y="315"/>
                    </a:lnTo>
                    <a:lnTo>
                      <a:pt x="78" y="314"/>
                    </a:lnTo>
                    <a:lnTo>
                      <a:pt x="82" y="314"/>
                    </a:lnTo>
                    <a:lnTo>
                      <a:pt x="86" y="315"/>
                    </a:lnTo>
                    <a:lnTo>
                      <a:pt x="89" y="315"/>
                    </a:lnTo>
                    <a:lnTo>
                      <a:pt x="92" y="315"/>
                    </a:lnTo>
                    <a:lnTo>
                      <a:pt x="93" y="314"/>
                    </a:lnTo>
                    <a:lnTo>
                      <a:pt x="96" y="310"/>
                    </a:lnTo>
                    <a:lnTo>
                      <a:pt x="98" y="307"/>
                    </a:lnTo>
                    <a:lnTo>
                      <a:pt x="99" y="306"/>
                    </a:lnTo>
                    <a:lnTo>
                      <a:pt x="102" y="304"/>
                    </a:lnTo>
                    <a:lnTo>
                      <a:pt x="105" y="300"/>
                    </a:lnTo>
                    <a:lnTo>
                      <a:pt x="102" y="301"/>
                    </a:lnTo>
                    <a:lnTo>
                      <a:pt x="100" y="303"/>
                    </a:lnTo>
                    <a:lnTo>
                      <a:pt x="99" y="304"/>
                    </a:lnTo>
                    <a:lnTo>
                      <a:pt x="95" y="306"/>
                    </a:lnTo>
                    <a:lnTo>
                      <a:pt x="92" y="307"/>
                    </a:lnTo>
                    <a:lnTo>
                      <a:pt x="89" y="310"/>
                    </a:lnTo>
                    <a:lnTo>
                      <a:pt x="88" y="310"/>
                    </a:lnTo>
                    <a:lnTo>
                      <a:pt x="84" y="310"/>
                    </a:lnTo>
                    <a:lnTo>
                      <a:pt x="79" y="306"/>
                    </a:lnTo>
                    <a:lnTo>
                      <a:pt x="78" y="304"/>
                    </a:lnTo>
                    <a:lnTo>
                      <a:pt x="77" y="304"/>
                    </a:lnTo>
                    <a:lnTo>
                      <a:pt x="75" y="304"/>
                    </a:lnTo>
                    <a:lnTo>
                      <a:pt x="74" y="304"/>
                    </a:lnTo>
                    <a:lnTo>
                      <a:pt x="71" y="304"/>
                    </a:lnTo>
                    <a:lnTo>
                      <a:pt x="72" y="303"/>
                    </a:lnTo>
                    <a:lnTo>
                      <a:pt x="74" y="301"/>
                    </a:lnTo>
                    <a:lnTo>
                      <a:pt x="71" y="301"/>
                    </a:lnTo>
                    <a:lnTo>
                      <a:pt x="70" y="301"/>
                    </a:lnTo>
                    <a:lnTo>
                      <a:pt x="68" y="300"/>
                    </a:lnTo>
                    <a:lnTo>
                      <a:pt x="66" y="300"/>
                    </a:lnTo>
                    <a:lnTo>
                      <a:pt x="64" y="300"/>
                    </a:lnTo>
                    <a:lnTo>
                      <a:pt x="63" y="301"/>
                    </a:lnTo>
                    <a:lnTo>
                      <a:pt x="59" y="303"/>
                    </a:lnTo>
                    <a:lnTo>
                      <a:pt x="56" y="300"/>
                    </a:lnTo>
                    <a:lnTo>
                      <a:pt x="54" y="300"/>
                    </a:lnTo>
                    <a:lnTo>
                      <a:pt x="54" y="297"/>
                    </a:lnTo>
                    <a:lnTo>
                      <a:pt x="54" y="296"/>
                    </a:lnTo>
                    <a:lnTo>
                      <a:pt x="53" y="296"/>
                    </a:lnTo>
                    <a:lnTo>
                      <a:pt x="54" y="293"/>
                    </a:lnTo>
                    <a:lnTo>
                      <a:pt x="56" y="292"/>
                    </a:lnTo>
                    <a:lnTo>
                      <a:pt x="60" y="290"/>
                    </a:lnTo>
                    <a:lnTo>
                      <a:pt x="66" y="288"/>
                    </a:lnTo>
                    <a:lnTo>
                      <a:pt x="68" y="286"/>
                    </a:lnTo>
                    <a:lnTo>
                      <a:pt x="71" y="283"/>
                    </a:lnTo>
                    <a:lnTo>
                      <a:pt x="72" y="282"/>
                    </a:lnTo>
                    <a:lnTo>
                      <a:pt x="74" y="281"/>
                    </a:lnTo>
                    <a:lnTo>
                      <a:pt x="75" y="278"/>
                    </a:lnTo>
                    <a:lnTo>
                      <a:pt x="77" y="276"/>
                    </a:lnTo>
                    <a:lnTo>
                      <a:pt x="75" y="275"/>
                    </a:lnTo>
                    <a:lnTo>
                      <a:pt x="74" y="274"/>
                    </a:lnTo>
                    <a:lnTo>
                      <a:pt x="74" y="272"/>
                    </a:lnTo>
                    <a:lnTo>
                      <a:pt x="75" y="271"/>
                    </a:lnTo>
                    <a:lnTo>
                      <a:pt x="74" y="269"/>
                    </a:lnTo>
                    <a:lnTo>
                      <a:pt x="74" y="268"/>
                    </a:lnTo>
                    <a:lnTo>
                      <a:pt x="74" y="267"/>
                    </a:lnTo>
                    <a:lnTo>
                      <a:pt x="74" y="265"/>
                    </a:lnTo>
                    <a:lnTo>
                      <a:pt x="71" y="265"/>
                    </a:lnTo>
                    <a:lnTo>
                      <a:pt x="70" y="265"/>
                    </a:lnTo>
                    <a:lnTo>
                      <a:pt x="67" y="267"/>
                    </a:lnTo>
                    <a:lnTo>
                      <a:pt x="66" y="268"/>
                    </a:lnTo>
                    <a:lnTo>
                      <a:pt x="63" y="268"/>
                    </a:lnTo>
                    <a:lnTo>
                      <a:pt x="63" y="267"/>
                    </a:lnTo>
                    <a:lnTo>
                      <a:pt x="64" y="265"/>
                    </a:lnTo>
                    <a:lnTo>
                      <a:pt x="66" y="264"/>
                    </a:lnTo>
                    <a:lnTo>
                      <a:pt x="68" y="262"/>
                    </a:lnTo>
                    <a:lnTo>
                      <a:pt x="70" y="261"/>
                    </a:lnTo>
                    <a:lnTo>
                      <a:pt x="70" y="260"/>
                    </a:lnTo>
                    <a:lnTo>
                      <a:pt x="71" y="258"/>
                    </a:lnTo>
                    <a:lnTo>
                      <a:pt x="74" y="255"/>
                    </a:lnTo>
                    <a:lnTo>
                      <a:pt x="79" y="253"/>
                    </a:lnTo>
                    <a:lnTo>
                      <a:pt x="79" y="253"/>
                    </a:lnTo>
                    <a:lnTo>
                      <a:pt x="82" y="253"/>
                    </a:lnTo>
                    <a:lnTo>
                      <a:pt x="84" y="253"/>
                    </a:lnTo>
                    <a:lnTo>
                      <a:pt x="86" y="253"/>
                    </a:lnTo>
                    <a:lnTo>
                      <a:pt x="88" y="251"/>
                    </a:lnTo>
                    <a:lnTo>
                      <a:pt x="92" y="254"/>
                    </a:lnTo>
                    <a:lnTo>
                      <a:pt x="91" y="250"/>
                    </a:lnTo>
                    <a:lnTo>
                      <a:pt x="92" y="250"/>
                    </a:lnTo>
                    <a:lnTo>
                      <a:pt x="95" y="253"/>
                    </a:lnTo>
                    <a:lnTo>
                      <a:pt x="96" y="254"/>
                    </a:lnTo>
                    <a:lnTo>
                      <a:pt x="99" y="253"/>
                    </a:lnTo>
                    <a:lnTo>
                      <a:pt x="98" y="253"/>
                    </a:lnTo>
                    <a:lnTo>
                      <a:pt x="96" y="253"/>
                    </a:lnTo>
                    <a:lnTo>
                      <a:pt x="95" y="251"/>
                    </a:lnTo>
                    <a:lnTo>
                      <a:pt x="95" y="250"/>
                    </a:lnTo>
                    <a:lnTo>
                      <a:pt x="92" y="247"/>
                    </a:lnTo>
                    <a:lnTo>
                      <a:pt x="93" y="244"/>
                    </a:lnTo>
                    <a:lnTo>
                      <a:pt x="93" y="242"/>
                    </a:lnTo>
                    <a:lnTo>
                      <a:pt x="95" y="240"/>
                    </a:lnTo>
                    <a:lnTo>
                      <a:pt x="93" y="240"/>
                    </a:lnTo>
                    <a:lnTo>
                      <a:pt x="93" y="239"/>
                    </a:lnTo>
                    <a:lnTo>
                      <a:pt x="93" y="236"/>
                    </a:lnTo>
                    <a:lnTo>
                      <a:pt x="93" y="235"/>
                    </a:lnTo>
                    <a:lnTo>
                      <a:pt x="96" y="233"/>
                    </a:lnTo>
                    <a:lnTo>
                      <a:pt x="96" y="230"/>
                    </a:lnTo>
                    <a:lnTo>
                      <a:pt x="96" y="228"/>
                    </a:lnTo>
                    <a:lnTo>
                      <a:pt x="96" y="226"/>
                    </a:lnTo>
                    <a:lnTo>
                      <a:pt x="93" y="226"/>
                    </a:lnTo>
                    <a:lnTo>
                      <a:pt x="93" y="228"/>
                    </a:lnTo>
                    <a:lnTo>
                      <a:pt x="92" y="228"/>
                    </a:lnTo>
                    <a:lnTo>
                      <a:pt x="91" y="228"/>
                    </a:lnTo>
                    <a:lnTo>
                      <a:pt x="88" y="225"/>
                    </a:lnTo>
                    <a:lnTo>
                      <a:pt x="86" y="222"/>
                    </a:lnTo>
                    <a:lnTo>
                      <a:pt x="84" y="218"/>
                    </a:lnTo>
                    <a:lnTo>
                      <a:pt x="84" y="214"/>
                    </a:lnTo>
                    <a:lnTo>
                      <a:pt x="85" y="208"/>
                    </a:lnTo>
                    <a:lnTo>
                      <a:pt x="89" y="204"/>
                    </a:lnTo>
                    <a:lnTo>
                      <a:pt x="93" y="202"/>
                    </a:lnTo>
                    <a:lnTo>
                      <a:pt x="92" y="202"/>
                    </a:lnTo>
                    <a:lnTo>
                      <a:pt x="86" y="201"/>
                    </a:lnTo>
                    <a:lnTo>
                      <a:pt x="84" y="202"/>
                    </a:lnTo>
                    <a:lnTo>
                      <a:pt x="82" y="204"/>
                    </a:lnTo>
                    <a:lnTo>
                      <a:pt x="81" y="204"/>
                    </a:lnTo>
                    <a:lnTo>
                      <a:pt x="79" y="205"/>
                    </a:lnTo>
                    <a:lnTo>
                      <a:pt x="78" y="205"/>
                    </a:lnTo>
                    <a:lnTo>
                      <a:pt x="78" y="207"/>
                    </a:lnTo>
                    <a:lnTo>
                      <a:pt x="77" y="208"/>
                    </a:lnTo>
                    <a:lnTo>
                      <a:pt x="74" y="207"/>
                    </a:lnTo>
                    <a:lnTo>
                      <a:pt x="72" y="208"/>
                    </a:lnTo>
                    <a:lnTo>
                      <a:pt x="72" y="207"/>
                    </a:lnTo>
                    <a:lnTo>
                      <a:pt x="72" y="205"/>
                    </a:lnTo>
                    <a:lnTo>
                      <a:pt x="71" y="205"/>
                    </a:lnTo>
                    <a:lnTo>
                      <a:pt x="70" y="205"/>
                    </a:lnTo>
                    <a:lnTo>
                      <a:pt x="68" y="207"/>
                    </a:lnTo>
                    <a:lnTo>
                      <a:pt x="66" y="208"/>
                    </a:lnTo>
                    <a:lnTo>
                      <a:pt x="64" y="207"/>
                    </a:lnTo>
                    <a:lnTo>
                      <a:pt x="61" y="205"/>
                    </a:lnTo>
                    <a:lnTo>
                      <a:pt x="60" y="207"/>
                    </a:lnTo>
                    <a:lnTo>
                      <a:pt x="60" y="208"/>
                    </a:lnTo>
                    <a:lnTo>
                      <a:pt x="59" y="211"/>
                    </a:lnTo>
                    <a:lnTo>
                      <a:pt x="57" y="208"/>
                    </a:lnTo>
                    <a:lnTo>
                      <a:pt x="54" y="205"/>
                    </a:lnTo>
                    <a:lnTo>
                      <a:pt x="54" y="204"/>
                    </a:lnTo>
                    <a:lnTo>
                      <a:pt x="54" y="201"/>
                    </a:lnTo>
                    <a:lnTo>
                      <a:pt x="56" y="200"/>
                    </a:lnTo>
                    <a:lnTo>
                      <a:pt x="56" y="201"/>
                    </a:lnTo>
                    <a:lnTo>
                      <a:pt x="59" y="196"/>
                    </a:lnTo>
                    <a:lnTo>
                      <a:pt x="61" y="189"/>
                    </a:lnTo>
                    <a:lnTo>
                      <a:pt x="63" y="187"/>
                    </a:lnTo>
                    <a:lnTo>
                      <a:pt x="63" y="184"/>
                    </a:lnTo>
                    <a:lnTo>
                      <a:pt x="63" y="183"/>
                    </a:lnTo>
                    <a:lnTo>
                      <a:pt x="63" y="182"/>
                    </a:lnTo>
                    <a:lnTo>
                      <a:pt x="60" y="179"/>
                    </a:lnTo>
                    <a:lnTo>
                      <a:pt x="60" y="176"/>
                    </a:lnTo>
                    <a:lnTo>
                      <a:pt x="60" y="173"/>
                    </a:lnTo>
                    <a:lnTo>
                      <a:pt x="60" y="170"/>
                    </a:lnTo>
                    <a:lnTo>
                      <a:pt x="61" y="170"/>
                    </a:lnTo>
                    <a:lnTo>
                      <a:pt x="66" y="170"/>
                    </a:lnTo>
                    <a:lnTo>
                      <a:pt x="63" y="169"/>
                    </a:lnTo>
                    <a:lnTo>
                      <a:pt x="60" y="166"/>
                    </a:lnTo>
                    <a:lnTo>
                      <a:pt x="60" y="166"/>
                    </a:lnTo>
                    <a:lnTo>
                      <a:pt x="61" y="163"/>
                    </a:lnTo>
                    <a:lnTo>
                      <a:pt x="61" y="163"/>
                    </a:lnTo>
                    <a:lnTo>
                      <a:pt x="60" y="165"/>
                    </a:lnTo>
                    <a:lnTo>
                      <a:pt x="59" y="168"/>
                    </a:lnTo>
                    <a:lnTo>
                      <a:pt x="59" y="168"/>
                    </a:lnTo>
                    <a:lnTo>
                      <a:pt x="56" y="169"/>
                    </a:lnTo>
                    <a:lnTo>
                      <a:pt x="56" y="170"/>
                    </a:lnTo>
                    <a:lnTo>
                      <a:pt x="54" y="170"/>
                    </a:lnTo>
                    <a:lnTo>
                      <a:pt x="54" y="170"/>
                    </a:lnTo>
                    <a:lnTo>
                      <a:pt x="53" y="172"/>
                    </a:lnTo>
                    <a:lnTo>
                      <a:pt x="53" y="172"/>
                    </a:lnTo>
                    <a:lnTo>
                      <a:pt x="53" y="170"/>
                    </a:lnTo>
                    <a:lnTo>
                      <a:pt x="53" y="169"/>
                    </a:lnTo>
                    <a:lnTo>
                      <a:pt x="53" y="166"/>
                    </a:lnTo>
                    <a:lnTo>
                      <a:pt x="54" y="165"/>
                    </a:lnTo>
                    <a:lnTo>
                      <a:pt x="57" y="161"/>
                    </a:lnTo>
                    <a:lnTo>
                      <a:pt x="56" y="162"/>
                    </a:lnTo>
                    <a:lnTo>
                      <a:pt x="53" y="166"/>
                    </a:lnTo>
                    <a:lnTo>
                      <a:pt x="50" y="168"/>
                    </a:lnTo>
                    <a:lnTo>
                      <a:pt x="50" y="169"/>
                    </a:lnTo>
                    <a:lnTo>
                      <a:pt x="50" y="169"/>
                    </a:lnTo>
                    <a:lnTo>
                      <a:pt x="50" y="170"/>
                    </a:lnTo>
                    <a:lnTo>
                      <a:pt x="50" y="175"/>
                    </a:lnTo>
                    <a:lnTo>
                      <a:pt x="50" y="176"/>
                    </a:lnTo>
                    <a:lnTo>
                      <a:pt x="47" y="189"/>
                    </a:lnTo>
                    <a:lnTo>
                      <a:pt x="46" y="190"/>
                    </a:lnTo>
                    <a:lnTo>
                      <a:pt x="46" y="190"/>
                    </a:lnTo>
                    <a:lnTo>
                      <a:pt x="46" y="190"/>
                    </a:lnTo>
                    <a:lnTo>
                      <a:pt x="45" y="190"/>
                    </a:lnTo>
                    <a:lnTo>
                      <a:pt x="43" y="189"/>
                    </a:lnTo>
                    <a:lnTo>
                      <a:pt x="43" y="189"/>
                    </a:lnTo>
                    <a:lnTo>
                      <a:pt x="43" y="187"/>
                    </a:lnTo>
                    <a:lnTo>
                      <a:pt x="45" y="180"/>
                    </a:lnTo>
                    <a:lnTo>
                      <a:pt x="46" y="179"/>
                    </a:lnTo>
                    <a:lnTo>
                      <a:pt x="46" y="177"/>
                    </a:lnTo>
                    <a:lnTo>
                      <a:pt x="49" y="175"/>
                    </a:lnTo>
                    <a:lnTo>
                      <a:pt x="49" y="175"/>
                    </a:lnTo>
                    <a:lnTo>
                      <a:pt x="47" y="176"/>
                    </a:lnTo>
                    <a:lnTo>
                      <a:pt x="46" y="175"/>
                    </a:lnTo>
                    <a:lnTo>
                      <a:pt x="46" y="175"/>
                    </a:lnTo>
                    <a:lnTo>
                      <a:pt x="46" y="166"/>
                    </a:lnTo>
                    <a:lnTo>
                      <a:pt x="47" y="165"/>
                    </a:lnTo>
                    <a:lnTo>
                      <a:pt x="47" y="161"/>
                    </a:lnTo>
                    <a:lnTo>
                      <a:pt x="49" y="158"/>
                    </a:lnTo>
                    <a:lnTo>
                      <a:pt x="50" y="155"/>
                    </a:lnTo>
                    <a:lnTo>
                      <a:pt x="50" y="152"/>
                    </a:lnTo>
                    <a:lnTo>
                      <a:pt x="52" y="151"/>
                    </a:lnTo>
                    <a:lnTo>
                      <a:pt x="52" y="148"/>
                    </a:lnTo>
                    <a:lnTo>
                      <a:pt x="53" y="147"/>
                    </a:lnTo>
                    <a:lnTo>
                      <a:pt x="54" y="144"/>
                    </a:lnTo>
                    <a:lnTo>
                      <a:pt x="53" y="144"/>
                    </a:lnTo>
                    <a:lnTo>
                      <a:pt x="47" y="150"/>
                    </a:lnTo>
                    <a:lnTo>
                      <a:pt x="46" y="151"/>
                    </a:lnTo>
                    <a:lnTo>
                      <a:pt x="43" y="151"/>
                    </a:lnTo>
                    <a:lnTo>
                      <a:pt x="42" y="151"/>
                    </a:lnTo>
                    <a:lnTo>
                      <a:pt x="40" y="148"/>
                    </a:lnTo>
                    <a:lnTo>
                      <a:pt x="40" y="145"/>
                    </a:lnTo>
                    <a:lnTo>
                      <a:pt x="38" y="145"/>
                    </a:lnTo>
                    <a:lnTo>
                      <a:pt x="36" y="145"/>
                    </a:lnTo>
                    <a:lnTo>
                      <a:pt x="36" y="145"/>
                    </a:lnTo>
                    <a:lnTo>
                      <a:pt x="39" y="144"/>
                    </a:lnTo>
                    <a:lnTo>
                      <a:pt x="42" y="143"/>
                    </a:lnTo>
                    <a:lnTo>
                      <a:pt x="45" y="141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45" y="137"/>
                    </a:lnTo>
                    <a:lnTo>
                      <a:pt x="46" y="133"/>
                    </a:lnTo>
                    <a:lnTo>
                      <a:pt x="47" y="129"/>
                    </a:lnTo>
                    <a:lnTo>
                      <a:pt x="46" y="126"/>
                    </a:lnTo>
                    <a:lnTo>
                      <a:pt x="46" y="124"/>
                    </a:lnTo>
                    <a:lnTo>
                      <a:pt x="43" y="123"/>
                    </a:lnTo>
                    <a:lnTo>
                      <a:pt x="43" y="122"/>
                    </a:lnTo>
                    <a:lnTo>
                      <a:pt x="43" y="120"/>
                    </a:lnTo>
                    <a:lnTo>
                      <a:pt x="43" y="119"/>
                    </a:lnTo>
                    <a:lnTo>
                      <a:pt x="45" y="119"/>
                    </a:lnTo>
                    <a:lnTo>
                      <a:pt x="47" y="117"/>
                    </a:lnTo>
                    <a:lnTo>
                      <a:pt x="45" y="116"/>
                    </a:lnTo>
                    <a:lnTo>
                      <a:pt x="45" y="116"/>
                    </a:lnTo>
                    <a:lnTo>
                      <a:pt x="43" y="115"/>
                    </a:lnTo>
                    <a:lnTo>
                      <a:pt x="43" y="113"/>
                    </a:lnTo>
                    <a:lnTo>
                      <a:pt x="45" y="109"/>
                    </a:lnTo>
                    <a:lnTo>
                      <a:pt x="46" y="108"/>
                    </a:lnTo>
                    <a:lnTo>
                      <a:pt x="46" y="106"/>
                    </a:lnTo>
                    <a:lnTo>
                      <a:pt x="52" y="106"/>
                    </a:lnTo>
                    <a:lnTo>
                      <a:pt x="52" y="105"/>
                    </a:lnTo>
                    <a:lnTo>
                      <a:pt x="52" y="105"/>
                    </a:lnTo>
                    <a:lnTo>
                      <a:pt x="54" y="106"/>
                    </a:lnTo>
                    <a:lnTo>
                      <a:pt x="54" y="105"/>
                    </a:lnTo>
                    <a:lnTo>
                      <a:pt x="50" y="101"/>
                    </a:lnTo>
                    <a:lnTo>
                      <a:pt x="50" y="99"/>
                    </a:lnTo>
                    <a:lnTo>
                      <a:pt x="52" y="97"/>
                    </a:lnTo>
                    <a:lnTo>
                      <a:pt x="52" y="97"/>
                    </a:lnTo>
                    <a:lnTo>
                      <a:pt x="52" y="95"/>
                    </a:lnTo>
                    <a:lnTo>
                      <a:pt x="52" y="94"/>
                    </a:lnTo>
                    <a:lnTo>
                      <a:pt x="53" y="94"/>
                    </a:lnTo>
                    <a:lnTo>
                      <a:pt x="56" y="94"/>
                    </a:lnTo>
                    <a:lnTo>
                      <a:pt x="57" y="92"/>
                    </a:lnTo>
                    <a:lnTo>
                      <a:pt x="57" y="92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5"/>
                    </a:lnTo>
                    <a:lnTo>
                      <a:pt x="56" y="84"/>
                    </a:lnTo>
                    <a:lnTo>
                      <a:pt x="57" y="83"/>
                    </a:lnTo>
                    <a:lnTo>
                      <a:pt x="57" y="83"/>
                    </a:lnTo>
                    <a:lnTo>
                      <a:pt x="59" y="81"/>
                    </a:lnTo>
                    <a:lnTo>
                      <a:pt x="61" y="83"/>
                    </a:lnTo>
                    <a:lnTo>
                      <a:pt x="61" y="83"/>
                    </a:lnTo>
                    <a:lnTo>
                      <a:pt x="63" y="84"/>
                    </a:lnTo>
                    <a:lnTo>
                      <a:pt x="63" y="84"/>
                    </a:lnTo>
                    <a:lnTo>
                      <a:pt x="66" y="83"/>
                    </a:lnTo>
                    <a:lnTo>
                      <a:pt x="67" y="83"/>
                    </a:lnTo>
                    <a:lnTo>
                      <a:pt x="68" y="84"/>
                    </a:lnTo>
                    <a:lnTo>
                      <a:pt x="72" y="83"/>
                    </a:lnTo>
                    <a:lnTo>
                      <a:pt x="78" y="83"/>
                    </a:lnTo>
                    <a:lnTo>
                      <a:pt x="82" y="81"/>
                    </a:lnTo>
                    <a:lnTo>
                      <a:pt x="85" y="81"/>
                    </a:lnTo>
                    <a:lnTo>
                      <a:pt x="89" y="80"/>
                    </a:lnTo>
                    <a:lnTo>
                      <a:pt x="93" y="80"/>
                    </a:lnTo>
                    <a:lnTo>
                      <a:pt x="93" y="81"/>
                    </a:lnTo>
                    <a:lnTo>
                      <a:pt x="93" y="81"/>
                    </a:lnTo>
                    <a:lnTo>
                      <a:pt x="92" y="84"/>
                    </a:lnTo>
                    <a:close/>
                    <a:moveTo>
                      <a:pt x="95" y="76"/>
                    </a:moveTo>
                    <a:lnTo>
                      <a:pt x="95" y="77"/>
                    </a:lnTo>
                    <a:lnTo>
                      <a:pt x="95" y="76"/>
                    </a:lnTo>
                    <a:lnTo>
                      <a:pt x="93" y="73"/>
                    </a:lnTo>
                    <a:lnTo>
                      <a:pt x="95" y="73"/>
                    </a:lnTo>
                    <a:lnTo>
                      <a:pt x="96" y="73"/>
                    </a:lnTo>
                    <a:lnTo>
                      <a:pt x="95" y="74"/>
                    </a:lnTo>
                    <a:lnTo>
                      <a:pt x="95" y="76"/>
                    </a:lnTo>
                    <a:close/>
                    <a:moveTo>
                      <a:pt x="91" y="74"/>
                    </a:moveTo>
                    <a:lnTo>
                      <a:pt x="89" y="76"/>
                    </a:lnTo>
                    <a:lnTo>
                      <a:pt x="89" y="74"/>
                    </a:lnTo>
                    <a:lnTo>
                      <a:pt x="86" y="73"/>
                    </a:lnTo>
                    <a:lnTo>
                      <a:pt x="86" y="72"/>
                    </a:lnTo>
                    <a:lnTo>
                      <a:pt x="86" y="70"/>
                    </a:lnTo>
                    <a:lnTo>
                      <a:pt x="88" y="70"/>
                    </a:lnTo>
                    <a:lnTo>
                      <a:pt x="89" y="70"/>
                    </a:lnTo>
                    <a:lnTo>
                      <a:pt x="89" y="73"/>
                    </a:lnTo>
                    <a:lnTo>
                      <a:pt x="89" y="73"/>
                    </a:lnTo>
                    <a:lnTo>
                      <a:pt x="91" y="74"/>
                    </a:lnTo>
                    <a:lnTo>
                      <a:pt x="91" y="74"/>
                    </a:lnTo>
                    <a:lnTo>
                      <a:pt x="91" y="74"/>
                    </a:lnTo>
                    <a:close/>
                    <a:moveTo>
                      <a:pt x="93" y="66"/>
                    </a:moveTo>
                    <a:lnTo>
                      <a:pt x="92" y="67"/>
                    </a:lnTo>
                    <a:lnTo>
                      <a:pt x="93" y="67"/>
                    </a:lnTo>
                    <a:lnTo>
                      <a:pt x="96" y="67"/>
                    </a:lnTo>
                    <a:lnTo>
                      <a:pt x="98" y="67"/>
                    </a:lnTo>
                    <a:lnTo>
                      <a:pt x="98" y="69"/>
                    </a:lnTo>
                    <a:lnTo>
                      <a:pt x="98" y="70"/>
                    </a:lnTo>
                    <a:lnTo>
                      <a:pt x="98" y="72"/>
                    </a:lnTo>
                    <a:lnTo>
                      <a:pt x="96" y="72"/>
                    </a:lnTo>
                    <a:lnTo>
                      <a:pt x="93" y="70"/>
                    </a:lnTo>
                    <a:lnTo>
                      <a:pt x="91" y="70"/>
                    </a:lnTo>
                    <a:lnTo>
                      <a:pt x="91" y="70"/>
                    </a:lnTo>
                    <a:lnTo>
                      <a:pt x="89" y="70"/>
                    </a:lnTo>
                    <a:lnTo>
                      <a:pt x="89" y="69"/>
                    </a:lnTo>
                    <a:lnTo>
                      <a:pt x="89" y="67"/>
                    </a:lnTo>
                    <a:lnTo>
                      <a:pt x="89" y="67"/>
                    </a:lnTo>
                    <a:lnTo>
                      <a:pt x="88" y="69"/>
                    </a:lnTo>
                    <a:lnTo>
                      <a:pt x="88" y="69"/>
                    </a:lnTo>
                    <a:lnTo>
                      <a:pt x="88" y="67"/>
                    </a:lnTo>
                    <a:lnTo>
                      <a:pt x="88" y="67"/>
                    </a:lnTo>
                    <a:lnTo>
                      <a:pt x="88" y="65"/>
                    </a:lnTo>
                    <a:lnTo>
                      <a:pt x="88" y="63"/>
                    </a:lnTo>
                    <a:lnTo>
                      <a:pt x="89" y="62"/>
                    </a:lnTo>
                    <a:lnTo>
                      <a:pt x="91" y="63"/>
                    </a:lnTo>
                    <a:lnTo>
                      <a:pt x="93" y="63"/>
                    </a:lnTo>
                    <a:lnTo>
                      <a:pt x="93" y="65"/>
                    </a:lnTo>
                    <a:lnTo>
                      <a:pt x="93" y="66"/>
                    </a:lnTo>
                    <a:lnTo>
                      <a:pt x="93" y="66"/>
                    </a:lnTo>
                    <a:close/>
                    <a:moveTo>
                      <a:pt x="102" y="59"/>
                    </a:moveTo>
                    <a:lnTo>
                      <a:pt x="100" y="59"/>
                    </a:lnTo>
                    <a:lnTo>
                      <a:pt x="100" y="58"/>
                    </a:lnTo>
                    <a:lnTo>
                      <a:pt x="102" y="56"/>
                    </a:lnTo>
                    <a:lnTo>
                      <a:pt x="105" y="56"/>
                    </a:lnTo>
                    <a:lnTo>
                      <a:pt x="105" y="58"/>
                    </a:lnTo>
                    <a:lnTo>
                      <a:pt x="102" y="59"/>
                    </a:lnTo>
                    <a:close/>
                    <a:moveTo>
                      <a:pt x="99" y="60"/>
                    </a:moveTo>
                    <a:lnTo>
                      <a:pt x="98" y="62"/>
                    </a:lnTo>
                    <a:lnTo>
                      <a:pt x="96" y="60"/>
                    </a:lnTo>
                    <a:lnTo>
                      <a:pt x="96" y="59"/>
                    </a:lnTo>
                    <a:lnTo>
                      <a:pt x="95" y="58"/>
                    </a:lnTo>
                    <a:lnTo>
                      <a:pt x="93" y="58"/>
                    </a:lnTo>
                    <a:lnTo>
                      <a:pt x="93" y="56"/>
                    </a:lnTo>
                    <a:lnTo>
                      <a:pt x="93" y="56"/>
                    </a:lnTo>
                    <a:lnTo>
                      <a:pt x="95" y="55"/>
                    </a:lnTo>
                    <a:lnTo>
                      <a:pt x="96" y="58"/>
                    </a:lnTo>
                    <a:lnTo>
                      <a:pt x="98" y="59"/>
                    </a:lnTo>
                    <a:lnTo>
                      <a:pt x="99" y="59"/>
                    </a:lnTo>
                    <a:lnTo>
                      <a:pt x="99" y="59"/>
                    </a:lnTo>
                    <a:lnTo>
                      <a:pt x="99" y="60"/>
                    </a:lnTo>
                    <a:close/>
                    <a:moveTo>
                      <a:pt x="124" y="12"/>
                    </a:moveTo>
                    <a:lnTo>
                      <a:pt x="125" y="14"/>
                    </a:lnTo>
                    <a:lnTo>
                      <a:pt x="125" y="14"/>
                    </a:lnTo>
                    <a:lnTo>
                      <a:pt x="127" y="16"/>
                    </a:lnTo>
                    <a:lnTo>
                      <a:pt x="128" y="16"/>
                    </a:lnTo>
                    <a:lnTo>
                      <a:pt x="130" y="16"/>
                    </a:lnTo>
                    <a:lnTo>
                      <a:pt x="128" y="17"/>
                    </a:lnTo>
                    <a:lnTo>
                      <a:pt x="128" y="24"/>
                    </a:lnTo>
                    <a:lnTo>
                      <a:pt x="127" y="26"/>
                    </a:lnTo>
                    <a:lnTo>
                      <a:pt x="127" y="27"/>
                    </a:lnTo>
                    <a:lnTo>
                      <a:pt x="127" y="27"/>
                    </a:lnTo>
                    <a:lnTo>
                      <a:pt x="127" y="31"/>
                    </a:lnTo>
                    <a:lnTo>
                      <a:pt x="125" y="32"/>
                    </a:lnTo>
                    <a:lnTo>
                      <a:pt x="125" y="35"/>
                    </a:lnTo>
                    <a:lnTo>
                      <a:pt x="124" y="37"/>
                    </a:lnTo>
                    <a:lnTo>
                      <a:pt x="124" y="35"/>
                    </a:lnTo>
                    <a:lnTo>
                      <a:pt x="124" y="30"/>
                    </a:lnTo>
                    <a:lnTo>
                      <a:pt x="125" y="27"/>
                    </a:lnTo>
                    <a:lnTo>
                      <a:pt x="125" y="26"/>
                    </a:lnTo>
                    <a:lnTo>
                      <a:pt x="124" y="24"/>
                    </a:lnTo>
                    <a:lnTo>
                      <a:pt x="123" y="24"/>
                    </a:lnTo>
                    <a:lnTo>
                      <a:pt x="121" y="26"/>
                    </a:lnTo>
                    <a:lnTo>
                      <a:pt x="121" y="24"/>
                    </a:lnTo>
                    <a:lnTo>
                      <a:pt x="121" y="24"/>
                    </a:lnTo>
                    <a:lnTo>
                      <a:pt x="121" y="23"/>
                    </a:lnTo>
                    <a:lnTo>
                      <a:pt x="118" y="23"/>
                    </a:lnTo>
                    <a:lnTo>
                      <a:pt x="118" y="23"/>
                    </a:lnTo>
                    <a:lnTo>
                      <a:pt x="118" y="23"/>
                    </a:lnTo>
                    <a:lnTo>
                      <a:pt x="118" y="21"/>
                    </a:lnTo>
                    <a:lnTo>
                      <a:pt x="120" y="21"/>
                    </a:lnTo>
                    <a:lnTo>
                      <a:pt x="121" y="21"/>
                    </a:lnTo>
                    <a:lnTo>
                      <a:pt x="123" y="20"/>
                    </a:lnTo>
                    <a:lnTo>
                      <a:pt x="121" y="14"/>
                    </a:lnTo>
                    <a:lnTo>
                      <a:pt x="120" y="14"/>
                    </a:lnTo>
                    <a:lnTo>
                      <a:pt x="120" y="13"/>
                    </a:lnTo>
                    <a:lnTo>
                      <a:pt x="120" y="13"/>
                    </a:lnTo>
                    <a:lnTo>
                      <a:pt x="121" y="12"/>
                    </a:lnTo>
                    <a:lnTo>
                      <a:pt x="123" y="10"/>
                    </a:lnTo>
                    <a:lnTo>
                      <a:pt x="124" y="9"/>
                    </a:lnTo>
                    <a:lnTo>
                      <a:pt x="124" y="9"/>
                    </a:lnTo>
                    <a:lnTo>
                      <a:pt x="124" y="12"/>
                    </a:lnTo>
                    <a:close/>
                    <a:moveTo>
                      <a:pt x="130" y="13"/>
                    </a:moveTo>
                    <a:lnTo>
                      <a:pt x="128" y="13"/>
                    </a:lnTo>
                    <a:lnTo>
                      <a:pt x="127" y="9"/>
                    </a:lnTo>
                    <a:lnTo>
                      <a:pt x="128" y="5"/>
                    </a:lnTo>
                    <a:lnTo>
                      <a:pt x="130" y="5"/>
                    </a:lnTo>
                    <a:lnTo>
                      <a:pt x="130" y="6"/>
                    </a:lnTo>
                    <a:lnTo>
                      <a:pt x="130" y="7"/>
                    </a:lnTo>
                    <a:lnTo>
                      <a:pt x="130" y="7"/>
                    </a:lnTo>
                    <a:lnTo>
                      <a:pt x="130" y="7"/>
                    </a:lnTo>
                    <a:lnTo>
                      <a:pt x="130" y="10"/>
                    </a:lnTo>
                    <a:lnTo>
                      <a:pt x="130" y="12"/>
                    </a:lnTo>
                    <a:lnTo>
                      <a:pt x="130" y="13"/>
                    </a:lnTo>
                    <a:close/>
                    <a:moveTo>
                      <a:pt x="134" y="2"/>
                    </a:moveTo>
                    <a:lnTo>
                      <a:pt x="134" y="2"/>
                    </a:lnTo>
                    <a:lnTo>
                      <a:pt x="134" y="6"/>
                    </a:lnTo>
                    <a:lnTo>
                      <a:pt x="134" y="6"/>
                    </a:lnTo>
                    <a:lnTo>
                      <a:pt x="132" y="6"/>
                    </a:lnTo>
                    <a:lnTo>
                      <a:pt x="131" y="6"/>
                    </a:lnTo>
                    <a:lnTo>
                      <a:pt x="131" y="5"/>
                    </a:lnTo>
                    <a:lnTo>
                      <a:pt x="131" y="2"/>
                    </a:lnTo>
                    <a:lnTo>
                      <a:pt x="131" y="2"/>
                    </a:lnTo>
                    <a:lnTo>
                      <a:pt x="132" y="2"/>
                    </a:lnTo>
                    <a:lnTo>
                      <a:pt x="132" y="2"/>
                    </a:lnTo>
                    <a:lnTo>
                      <a:pt x="134" y="0"/>
                    </a:lnTo>
                    <a:lnTo>
                      <a:pt x="134" y="0"/>
                    </a:lnTo>
                    <a:lnTo>
                      <a:pt x="134" y="2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58" name="Guernsey">
                <a:extLst>
                  <a:ext uri="{FF2B5EF4-FFF2-40B4-BE49-F238E27FC236}">
                    <a16:creationId xmlns:a16="http://schemas.microsoft.com/office/drawing/2014/main" id="{C53CB672-4799-E131-3BA4-25EB5308C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8532" y="2719976"/>
                <a:ext cx="2347" cy="1564"/>
              </a:xfrm>
              <a:custGeom>
                <a:avLst/>
                <a:gdLst>
                  <a:gd name="T0" fmla="*/ 3 w 3"/>
                  <a:gd name="T1" fmla="*/ 0 h 2"/>
                  <a:gd name="T2" fmla="*/ 2 w 3"/>
                  <a:gd name="T3" fmla="*/ 2 h 2"/>
                  <a:gd name="T4" fmla="*/ 0 w 3"/>
                  <a:gd name="T5" fmla="*/ 2 h 2"/>
                  <a:gd name="T6" fmla="*/ 0 w 3"/>
                  <a:gd name="T7" fmla="*/ 0 h 2"/>
                  <a:gd name="T8" fmla="*/ 2 w 3"/>
                  <a:gd name="T9" fmla="*/ 0 h 2"/>
                  <a:gd name="T10" fmla="*/ 3 w 3"/>
                  <a:gd name="T11" fmla="*/ 0 h 2"/>
                  <a:gd name="T12" fmla="*/ 3 w 3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59" name="Gibraltar">
                <a:extLst>
                  <a:ext uri="{FF2B5EF4-FFF2-40B4-BE49-F238E27FC236}">
                    <a16:creationId xmlns:a16="http://schemas.microsoft.com/office/drawing/2014/main" id="{A5FB3636-4090-6633-0E84-7593C333D7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0991" y="2978067"/>
                <a:ext cx="0" cy="1564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2 h 2"/>
                  <a:gd name="T5" fmla="*/ 2 h 2"/>
                  <a:gd name="T6" fmla="*/ 2 h 2"/>
                  <a:gd name="T7" fmla="*/ 2 h 2"/>
                  <a:gd name="T8" fmla="*/ 0 h 2"/>
                  <a:gd name="T9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60" name="Greece">
                <a:extLst>
                  <a:ext uri="{FF2B5EF4-FFF2-40B4-BE49-F238E27FC236}">
                    <a16:creationId xmlns:a16="http://schemas.microsoft.com/office/drawing/2014/main" id="{23501076-039D-856F-58D7-2ED3FEE2BC3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04498" y="2877177"/>
                <a:ext cx="122007" cy="122789"/>
              </a:xfrm>
              <a:custGeom>
                <a:avLst/>
                <a:gdLst>
                  <a:gd name="T0" fmla="*/ 123 w 156"/>
                  <a:gd name="T1" fmla="*/ 17 h 157"/>
                  <a:gd name="T2" fmla="*/ 95 w 156"/>
                  <a:gd name="T3" fmla="*/ 21 h 157"/>
                  <a:gd name="T4" fmla="*/ 81 w 156"/>
                  <a:gd name="T5" fmla="*/ 32 h 157"/>
                  <a:gd name="T6" fmla="*/ 80 w 156"/>
                  <a:gd name="T7" fmla="*/ 42 h 157"/>
                  <a:gd name="T8" fmla="*/ 60 w 156"/>
                  <a:gd name="T9" fmla="*/ 32 h 157"/>
                  <a:gd name="T10" fmla="*/ 64 w 156"/>
                  <a:gd name="T11" fmla="*/ 54 h 157"/>
                  <a:gd name="T12" fmla="*/ 63 w 156"/>
                  <a:gd name="T13" fmla="*/ 64 h 157"/>
                  <a:gd name="T14" fmla="*/ 77 w 156"/>
                  <a:gd name="T15" fmla="*/ 81 h 157"/>
                  <a:gd name="T16" fmla="*/ 70 w 156"/>
                  <a:gd name="T17" fmla="*/ 89 h 157"/>
                  <a:gd name="T18" fmla="*/ 71 w 156"/>
                  <a:gd name="T19" fmla="*/ 102 h 157"/>
                  <a:gd name="T20" fmla="*/ 63 w 156"/>
                  <a:gd name="T21" fmla="*/ 115 h 157"/>
                  <a:gd name="T22" fmla="*/ 50 w 156"/>
                  <a:gd name="T23" fmla="*/ 120 h 157"/>
                  <a:gd name="T24" fmla="*/ 38 w 156"/>
                  <a:gd name="T25" fmla="*/ 102 h 157"/>
                  <a:gd name="T26" fmla="*/ 41 w 156"/>
                  <a:gd name="T27" fmla="*/ 81 h 157"/>
                  <a:gd name="T28" fmla="*/ 63 w 156"/>
                  <a:gd name="T29" fmla="*/ 83 h 157"/>
                  <a:gd name="T30" fmla="*/ 38 w 156"/>
                  <a:gd name="T31" fmla="*/ 81 h 157"/>
                  <a:gd name="T32" fmla="*/ 21 w 156"/>
                  <a:gd name="T33" fmla="*/ 67 h 157"/>
                  <a:gd name="T34" fmla="*/ 13 w 156"/>
                  <a:gd name="T35" fmla="*/ 57 h 157"/>
                  <a:gd name="T36" fmla="*/ 14 w 156"/>
                  <a:gd name="T37" fmla="*/ 46 h 157"/>
                  <a:gd name="T38" fmla="*/ 21 w 156"/>
                  <a:gd name="T39" fmla="*/ 32 h 157"/>
                  <a:gd name="T40" fmla="*/ 37 w 156"/>
                  <a:gd name="T41" fmla="*/ 21 h 157"/>
                  <a:gd name="T42" fmla="*/ 60 w 156"/>
                  <a:gd name="T43" fmla="*/ 10 h 157"/>
                  <a:gd name="T44" fmla="*/ 85 w 156"/>
                  <a:gd name="T45" fmla="*/ 5 h 157"/>
                  <a:gd name="T46" fmla="*/ 109 w 156"/>
                  <a:gd name="T47" fmla="*/ 11 h 157"/>
                  <a:gd name="T48" fmla="*/ 94 w 156"/>
                  <a:gd name="T49" fmla="*/ 28 h 157"/>
                  <a:gd name="T50" fmla="*/ 109 w 156"/>
                  <a:gd name="T51" fmla="*/ 30 h 157"/>
                  <a:gd name="T52" fmla="*/ 99 w 156"/>
                  <a:gd name="T53" fmla="*/ 46 h 157"/>
                  <a:gd name="T54" fmla="*/ 2 w 156"/>
                  <a:gd name="T55" fmla="*/ 49 h 157"/>
                  <a:gd name="T56" fmla="*/ 124 w 156"/>
                  <a:gd name="T57" fmla="*/ 57 h 157"/>
                  <a:gd name="T58" fmla="*/ 122 w 156"/>
                  <a:gd name="T59" fmla="*/ 61 h 157"/>
                  <a:gd name="T60" fmla="*/ 78 w 156"/>
                  <a:gd name="T61" fmla="*/ 60 h 157"/>
                  <a:gd name="T62" fmla="*/ 83 w 156"/>
                  <a:gd name="T63" fmla="*/ 72 h 157"/>
                  <a:gd name="T64" fmla="*/ 88 w 156"/>
                  <a:gd name="T65" fmla="*/ 89 h 157"/>
                  <a:gd name="T66" fmla="*/ 74 w 156"/>
                  <a:gd name="T67" fmla="*/ 78 h 157"/>
                  <a:gd name="T68" fmla="*/ 67 w 156"/>
                  <a:gd name="T69" fmla="*/ 64 h 157"/>
                  <a:gd name="T70" fmla="*/ 18 w 156"/>
                  <a:gd name="T71" fmla="*/ 74 h 157"/>
                  <a:gd name="T72" fmla="*/ 116 w 156"/>
                  <a:gd name="T73" fmla="*/ 81 h 157"/>
                  <a:gd name="T74" fmla="*/ 20 w 156"/>
                  <a:gd name="T75" fmla="*/ 79 h 157"/>
                  <a:gd name="T76" fmla="*/ 18 w 156"/>
                  <a:gd name="T77" fmla="*/ 85 h 157"/>
                  <a:gd name="T78" fmla="*/ 17 w 156"/>
                  <a:gd name="T79" fmla="*/ 78 h 157"/>
                  <a:gd name="T80" fmla="*/ 98 w 156"/>
                  <a:gd name="T81" fmla="*/ 96 h 157"/>
                  <a:gd name="T82" fmla="*/ 24 w 156"/>
                  <a:gd name="T83" fmla="*/ 95 h 157"/>
                  <a:gd name="T84" fmla="*/ 131 w 156"/>
                  <a:gd name="T85" fmla="*/ 96 h 157"/>
                  <a:gd name="T86" fmla="*/ 103 w 156"/>
                  <a:gd name="T87" fmla="*/ 97 h 157"/>
                  <a:gd name="T88" fmla="*/ 123 w 156"/>
                  <a:gd name="T89" fmla="*/ 96 h 157"/>
                  <a:gd name="T90" fmla="*/ 96 w 156"/>
                  <a:gd name="T91" fmla="*/ 102 h 157"/>
                  <a:gd name="T92" fmla="*/ 88 w 156"/>
                  <a:gd name="T93" fmla="*/ 109 h 157"/>
                  <a:gd name="T94" fmla="*/ 103 w 156"/>
                  <a:gd name="T95" fmla="*/ 110 h 157"/>
                  <a:gd name="T96" fmla="*/ 135 w 156"/>
                  <a:gd name="T97" fmla="*/ 111 h 157"/>
                  <a:gd name="T98" fmla="*/ 113 w 156"/>
                  <a:gd name="T99" fmla="*/ 115 h 157"/>
                  <a:gd name="T100" fmla="*/ 137 w 156"/>
                  <a:gd name="T101" fmla="*/ 115 h 157"/>
                  <a:gd name="T102" fmla="*/ 87 w 156"/>
                  <a:gd name="T103" fmla="*/ 117 h 157"/>
                  <a:gd name="T104" fmla="*/ 123 w 156"/>
                  <a:gd name="T105" fmla="*/ 121 h 157"/>
                  <a:gd name="T106" fmla="*/ 105 w 156"/>
                  <a:gd name="T107" fmla="*/ 122 h 157"/>
                  <a:gd name="T108" fmla="*/ 156 w 156"/>
                  <a:gd name="T109" fmla="*/ 124 h 157"/>
                  <a:gd name="T110" fmla="*/ 63 w 156"/>
                  <a:gd name="T111" fmla="*/ 128 h 157"/>
                  <a:gd name="T112" fmla="*/ 77 w 156"/>
                  <a:gd name="T113" fmla="*/ 143 h 157"/>
                  <a:gd name="T114" fmla="*/ 87 w 156"/>
                  <a:gd name="T115" fmla="*/ 148 h 157"/>
                  <a:gd name="T116" fmla="*/ 113 w 156"/>
                  <a:gd name="T117" fmla="*/ 153 h 157"/>
                  <a:gd name="T118" fmla="*/ 95 w 156"/>
                  <a:gd name="T119" fmla="*/ 157 h 157"/>
                  <a:gd name="T120" fmla="*/ 73 w 156"/>
                  <a:gd name="T121" fmla="*/ 143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6" h="157">
                    <a:moveTo>
                      <a:pt x="122" y="1"/>
                    </a:moveTo>
                    <a:lnTo>
                      <a:pt x="124" y="1"/>
                    </a:lnTo>
                    <a:lnTo>
                      <a:pt x="124" y="1"/>
                    </a:lnTo>
                    <a:lnTo>
                      <a:pt x="126" y="3"/>
                    </a:lnTo>
                    <a:lnTo>
                      <a:pt x="126" y="3"/>
                    </a:lnTo>
                    <a:lnTo>
                      <a:pt x="127" y="4"/>
                    </a:lnTo>
                    <a:lnTo>
                      <a:pt x="127" y="5"/>
                    </a:lnTo>
                    <a:lnTo>
                      <a:pt x="127" y="8"/>
                    </a:lnTo>
                    <a:lnTo>
                      <a:pt x="127" y="10"/>
                    </a:lnTo>
                    <a:lnTo>
                      <a:pt x="126" y="10"/>
                    </a:lnTo>
                    <a:lnTo>
                      <a:pt x="123" y="12"/>
                    </a:lnTo>
                    <a:lnTo>
                      <a:pt x="123" y="14"/>
                    </a:lnTo>
                    <a:lnTo>
                      <a:pt x="123" y="15"/>
                    </a:lnTo>
                    <a:lnTo>
                      <a:pt x="123" y="17"/>
                    </a:lnTo>
                    <a:lnTo>
                      <a:pt x="123" y="17"/>
                    </a:lnTo>
                    <a:lnTo>
                      <a:pt x="123" y="18"/>
                    </a:lnTo>
                    <a:lnTo>
                      <a:pt x="123" y="19"/>
                    </a:lnTo>
                    <a:lnTo>
                      <a:pt x="120" y="21"/>
                    </a:lnTo>
                    <a:lnTo>
                      <a:pt x="120" y="22"/>
                    </a:lnTo>
                    <a:lnTo>
                      <a:pt x="119" y="23"/>
                    </a:lnTo>
                    <a:lnTo>
                      <a:pt x="117" y="23"/>
                    </a:lnTo>
                    <a:lnTo>
                      <a:pt x="117" y="25"/>
                    </a:lnTo>
                    <a:lnTo>
                      <a:pt x="116" y="23"/>
                    </a:lnTo>
                    <a:lnTo>
                      <a:pt x="113" y="22"/>
                    </a:lnTo>
                    <a:lnTo>
                      <a:pt x="108" y="21"/>
                    </a:lnTo>
                    <a:lnTo>
                      <a:pt x="105" y="19"/>
                    </a:lnTo>
                    <a:lnTo>
                      <a:pt x="103" y="19"/>
                    </a:lnTo>
                    <a:lnTo>
                      <a:pt x="101" y="18"/>
                    </a:lnTo>
                    <a:lnTo>
                      <a:pt x="98" y="19"/>
                    </a:lnTo>
                    <a:lnTo>
                      <a:pt x="95" y="21"/>
                    </a:lnTo>
                    <a:lnTo>
                      <a:pt x="92" y="21"/>
                    </a:lnTo>
                    <a:lnTo>
                      <a:pt x="89" y="19"/>
                    </a:lnTo>
                    <a:lnTo>
                      <a:pt x="88" y="19"/>
                    </a:lnTo>
                    <a:lnTo>
                      <a:pt x="87" y="19"/>
                    </a:lnTo>
                    <a:lnTo>
                      <a:pt x="84" y="23"/>
                    </a:lnTo>
                    <a:lnTo>
                      <a:pt x="81" y="25"/>
                    </a:lnTo>
                    <a:lnTo>
                      <a:pt x="80" y="23"/>
                    </a:lnTo>
                    <a:lnTo>
                      <a:pt x="76" y="23"/>
                    </a:lnTo>
                    <a:lnTo>
                      <a:pt x="76" y="25"/>
                    </a:lnTo>
                    <a:lnTo>
                      <a:pt x="76" y="26"/>
                    </a:lnTo>
                    <a:lnTo>
                      <a:pt x="78" y="29"/>
                    </a:lnTo>
                    <a:lnTo>
                      <a:pt x="77" y="30"/>
                    </a:lnTo>
                    <a:lnTo>
                      <a:pt x="78" y="32"/>
                    </a:lnTo>
                    <a:lnTo>
                      <a:pt x="78" y="32"/>
                    </a:lnTo>
                    <a:lnTo>
                      <a:pt x="81" y="32"/>
                    </a:lnTo>
                    <a:lnTo>
                      <a:pt x="84" y="33"/>
                    </a:lnTo>
                    <a:lnTo>
                      <a:pt x="85" y="36"/>
                    </a:lnTo>
                    <a:lnTo>
                      <a:pt x="87" y="39"/>
                    </a:lnTo>
                    <a:lnTo>
                      <a:pt x="84" y="36"/>
                    </a:lnTo>
                    <a:lnTo>
                      <a:pt x="83" y="35"/>
                    </a:lnTo>
                    <a:lnTo>
                      <a:pt x="81" y="35"/>
                    </a:lnTo>
                    <a:lnTo>
                      <a:pt x="78" y="33"/>
                    </a:lnTo>
                    <a:lnTo>
                      <a:pt x="77" y="33"/>
                    </a:lnTo>
                    <a:lnTo>
                      <a:pt x="76" y="33"/>
                    </a:lnTo>
                    <a:lnTo>
                      <a:pt x="76" y="35"/>
                    </a:lnTo>
                    <a:lnTo>
                      <a:pt x="77" y="37"/>
                    </a:lnTo>
                    <a:lnTo>
                      <a:pt x="78" y="37"/>
                    </a:lnTo>
                    <a:lnTo>
                      <a:pt x="80" y="39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3"/>
                    </a:lnTo>
                    <a:lnTo>
                      <a:pt x="77" y="42"/>
                    </a:lnTo>
                    <a:lnTo>
                      <a:pt x="74" y="36"/>
                    </a:lnTo>
                    <a:lnTo>
                      <a:pt x="70" y="36"/>
                    </a:lnTo>
                    <a:lnTo>
                      <a:pt x="69" y="36"/>
                    </a:lnTo>
                    <a:lnTo>
                      <a:pt x="70" y="39"/>
                    </a:lnTo>
                    <a:lnTo>
                      <a:pt x="70" y="40"/>
                    </a:lnTo>
                    <a:lnTo>
                      <a:pt x="74" y="43"/>
                    </a:lnTo>
                    <a:lnTo>
                      <a:pt x="74" y="43"/>
                    </a:lnTo>
                    <a:lnTo>
                      <a:pt x="73" y="43"/>
                    </a:lnTo>
                    <a:lnTo>
                      <a:pt x="69" y="42"/>
                    </a:lnTo>
                    <a:lnTo>
                      <a:pt x="67" y="40"/>
                    </a:lnTo>
                    <a:lnTo>
                      <a:pt x="67" y="36"/>
                    </a:lnTo>
                    <a:lnTo>
                      <a:pt x="63" y="35"/>
                    </a:lnTo>
                    <a:lnTo>
                      <a:pt x="60" y="32"/>
                    </a:lnTo>
                    <a:lnTo>
                      <a:pt x="59" y="30"/>
                    </a:lnTo>
                    <a:lnTo>
                      <a:pt x="60" y="29"/>
                    </a:lnTo>
                    <a:lnTo>
                      <a:pt x="60" y="28"/>
                    </a:lnTo>
                    <a:lnTo>
                      <a:pt x="59" y="28"/>
                    </a:lnTo>
                    <a:lnTo>
                      <a:pt x="57" y="29"/>
                    </a:lnTo>
                    <a:lnTo>
                      <a:pt x="55" y="30"/>
                    </a:lnTo>
                    <a:lnTo>
                      <a:pt x="55" y="32"/>
                    </a:lnTo>
                    <a:lnTo>
                      <a:pt x="56" y="33"/>
                    </a:lnTo>
                    <a:lnTo>
                      <a:pt x="55" y="35"/>
                    </a:lnTo>
                    <a:lnTo>
                      <a:pt x="55" y="39"/>
                    </a:lnTo>
                    <a:lnTo>
                      <a:pt x="55" y="40"/>
                    </a:lnTo>
                    <a:lnTo>
                      <a:pt x="59" y="46"/>
                    </a:lnTo>
                    <a:lnTo>
                      <a:pt x="60" y="50"/>
                    </a:lnTo>
                    <a:lnTo>
                      <a:pt x="62" y="51"/>
                    </a:lnTo>
                    <a:lnTo>
                      <a:pt x="64" y="54"/>
                    </a:lnTo>
                    <a:lnTo>
                      <a:pt x="66" y="57"/>
                    </a:lnTo>
                    <a:lnTo>
                      <a:pt x="67" y="58"/>
                    </a:lnTo>
                    <a:lnTo>
                      <a:pt x="67" y="61"/>
                    </a:lnTo>
                    <a:lnTo>
                      <a:pt x="66" y="63"/>
                    </a:lnTo>
                    <a:lnTo>
                      <a:pt x="64" y="63"/>
                    </a:lnTo>
                    <a:lnTo>
                      <a:pt x="64" y="63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2" y="57"/>
                    </a:lnTo>
                    <a:lnTo>
                      <a:pt x="60" y="58"/>
                    </a:lnTo>
                    <a:lnTo>
                      <a:pt x="59" y="60"/>
                    </a:lnTo>
                    <a:lnTo>
                      <a:pt x="60" y="61"/>
                    </a:lnTo>
                    <a:lnTo>
                      <a:pt x="60" y="63"/>
                    </a:lnTo>
                    <a:lnTo>
                      <a:pt x="62" y="64"/>
                    </a:lnTo>
                    <a:lnTo>
                      <a:pt x="63" y="64"/>
                    </a:lnTo>
                    <a:lnTo>
                      <a:pt x="60" y="67"/>
                    </a:lnTo>
                    <a:lnTo>
                      <a:pt x="59" y="67"/>
                    </a:lnTo>
                    <a:lnTo>
                      <a:pt x="56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5" y="68"/>
                    </a:lnTo>
                    <a:lnTo>
                      <a:pt x="56" y="68"/>
                    </a:lnTo>
                    <a:lnTo>
                      <a:pt x="57" y="69"/>
                    </a:lnTo>
                    <a:lnTo>
                      <a:pt x="62" y="71"/>
                    </a:lnTo>
                    <a:lnTo>
                      <a:pt x="64" y="72"/>
                    </a:lnTo>
                    <a:lnTo>
                      <a:pt x="67" y="72"/>
                    </a:lnTo>
                    <a:lnTo>
                      <a:pt x="69" y="76"/>
                    </a:lnTo>
                    <a:lnTo>
                      <a:pt x="73" y="76"/>
                    </a:lnTo>
                    <a:lnTo>
                      <a:pt x="74" y="81"/>
                    </a:lnTo>
                    <a:lnTo>
                      <a:pt x="77" y="81"/>
                    </a:lnTo>
                    <a:lnTo>
                      <a:pt x="80" y="82"/>
                    </a:lnTo>
                    <a:lnTo>
                      <a:pt x="80" y="83"/>
                    </a:lnTo>
                    <a:lnTo>
                      <a:pt x="81" y="85"/>
                    </a:lnTo>
                    <a:lnTo>
                      <a:pt x="81" y="89"/>
                    </a:lnTo>
                    <a:lnTo>
                      <a:pt x="81" y="92"/>
                    </a:lnTo>
                    <a:lnTo>
                      <a:pt x="81" y="93"/>
                    </a:lnTo>
                    <a:lnTo>
                      <a:pt x="81" y="95"/>
                    </a:lnTo>
                    <a:lnTo>
                      <a:pt x="81" y="96"/>
                    </a:lnTo>
                    <a:lnTo>
                      <a:pt x="80" y="96"/>
                    </a:lnTo>
                    <a:lnTo>
                      <a:pt x="78" y="93"/>
                    </a:lnTo>
                    <a:lnTo>
                      <a:pt x="76" y="90"/>
                    </a:lnTo>
                    <a:lnTo>
                      <a:pt x="73" y="88"/>
                    </a:lnTo>
                    <a:lnTo>
                      <a:pt x="71" y="88"/>
                    </a:lnTo>
                    <a:lnTo>
                      <a:pt x="71" y="88"/>
                    </a:lnTo>
                    <a:lnTo>
                      <a:pt x="70" y="89"/>
                    </a:lnTo>
                    <a:lnTo>
                      <a:pt x="66" y="89"/>
                    </a:lnTo>
                    <a:lnTo>
                      <a:pt x="63" y="90"/>
                    </a:lnTo>
                    <a:lnTo>
                      <a:pt x="63" y="90"/>
                    </a:lnTo>
                    <a:lnTo>
                      <a:pt x="63" y="90"/>
                    </a:lnTo>
                    <a:lnTo>
                      <a:pt x="63" y="92"/>
                    </a:lnTo>
                    <a:lnTo>
                      <a:pt x="64" y="93"/>
                    </a:lnTo>
                    <a:lnTo>
                      <a:pt x="64" y="95"/>
                    </a:lnTo>
                    <a:lnTo>
                      <a:pt x="66" y="97"/>
                    </a:lnTo>
                    <a:lnTo>
                      <a:pt x="67" y="97"/>
                    </a:lnTo>
                    <a:lnTo>
                      <a:pt x="69" y="97"/>
                    </a:lnTo>
                    <a:lnTo>
                      <a:pt x="69" y="97"/>
                    </a:lnTo>
                    <a:lnTo>
                      <a:pt x="70" y="99"/>
                    </a:lnTo>
                    <a:lnTo>
                      <a:pt x="70" y="100"/>
                    </a:lnTo>
                    <a:lnTo>
                      <a:pt x="71" y="100"/>
                    </a:lnTo>
                    <a:lnTo>
                      <a:pt x="71" y="102"/>
                    </a:lnTo>
                    <a:lnTo>
                      <a:pt x="67" y="103"/>
                    </a:lnTo>
                    <a:lnTo>
                      <a:pt x="66" y="103"/>
                    </a:lnTo>
                    <a:lnTo>
                      <a:pt x="64" y="103"/>
                    </a:lnTo>
                    <a:lnTo>
                      <a:pt x="64" y="103"/>
                    </a:lnTo>
                    <a:lnTo>
                      <a:pt x="63" y="102"/>
                    </a:lnTo>
                    <a:lnTo>
                      <a:pt x="62" y="100"/>
                    </a:lnTo>
                    <a:lnTo>
                      <a:pt x="60" y="99"/>
                    </a:lnTo>
                    <a:lnTo>
                      <a:pt x="59" y="99"/>
                    </a:lnTo>
                    <a:lnTo>
                      <a:pt x="57" y="97"/>
                    </a:lnTo>
                    <a:lnTo>
                      <a:pt x="57" y="99"/>
                    </a:lnTo>
                    <a:lnTo>
                      <a:pt x="57" y="102"/>
                    </a:lnTo>
                    <a:lnTo>
                      <a:pt x="59" y="104"/>
                    </a:lnTo>
                    <a:lnTo>
                      <a:pt x="62" y="111"/>
                    </a:lnTo>
                    <a:lnTo>
                      <a:pt x="63" y="114"/>
                    </a:lnTo>
                    <a:lnTo>
                      <a:pt x="63" y="115"/>
                    </a:lnTo>
                    <a:lnTo>
                      <a:pt x="63" y="120"/>
                    </a:lnTo>
                    <a:lnTo>
                      <a:pt x="64" y="121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3" y="122"/>
                    </a:lnTo>
                    <a:lnTo>
                      <a:pt x="62" y="121"/>
                    </a:lnTo>
                    <a:lnTo>
                      <a:pt x="59" y="118"/>
                    </a:lnTo>
                    <a:lnTo>
                      <a:pt x="57" y="115"/>
                    </a:lnTo>
                    <a:lnTo>
                      <a:pt x="57" y="115"/>
                    </a:lnTo>
                    <a:lnTo>
                      <a:pt x="55" y="115"/>
                    </a:lnTo>
                    <a:lnTo>
                      <a:pt x="53" y="121"/>
                    </a:lnTo>
                    <a:lnTo>
                      <a:pt x="53" y="124"/>
                    </a:lnTo>
                    <a:lnTo>
                      <a:pt x="52" y="122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50" y="118"/>
                    </a:lnTo>
                    <a:lnTo>
                      <a:pt x="48" y="114"/>
                    </a:lnTo>
                    <a:lnTo>
                      <a:pt x="46" y="113"/>
                    </a:lnTo>
                    <a:lnTo>
                      <a:pt x="46" y="111"/>
                    </a:lnTo>
                    <a:lnTo>
                      <a:pt x="45" y="110"/>
                    </a:lnTo>
                    <a:lnTo>
                      <a:pt x="44" y="111"/>
                    </a:lnTo>
                    <a:lnTo>
                      <a:pt x="44" y="111"/>
                    </a:lnTo>
                    <a:lnTo>
                      <a:pt x="42" y="114"/>
                    </a:lnTo>
                    <a:lnTo>
                      <a:pt x="42" y="115"/>
                    </a:lnTo>
                    <a:lnTo>
                      <a:pt x="42" y="117"/>
                    </a:lnTo>
                    <a:lnTo>
                      <a:pt x="39" y="114"/>
                    </a:lnTo>
                    <a:lnTo>
                      <a:pt x="37" y="109"/>
                    </a:lnTo>
                    <a:lnTo>
                      <a:pt x="37" y="107"/>
                    </a:lnTo>
                    <a:lnTo>
                      <a:pt x="38" y="104"/>
                    </a:lnTo>
                    <a:lnTo>
                      <a:pt x="38" y="102"/>
                    </a:lnTo>
                    <a:lnTo>
                      <a:pt x="37" y="99"/>
                    </a:lnTo>
                    <a:lnTo>
                      <a:pt x="34" y="96"/>
                    </a:lnTo>
                    <a:lnTo>
                      <a:pt x="31" y="96"/>
                    </a:lnTo>
                    <a:lnTo>
                      <a:pt x="31" y="93"/>
                    </a:lnTo>
                    <a:lnTo>
                      <a:pt x="30" y="92"/>
                    </a:lnTo>
                    <a:lnTo>
                      <a:pt x="28" y="92"/>
                    </a:lnTo>
                    <a:lnTo>
                      <a:pt x="28" y="90"/>
                    </a:lnTo>
                    <a:lnTo>
                      <a:pt x="28" y="90"/>
                    </a:lnTo>
                    <a:lnTo>
                      <a:pt x="31" y="88"/>
                    </a:lnTo>
                    <a:lnTo>
                      <a:pt x="32" y="83"/>
                    </a:lnTo>
                    <a:lnTo>
                      <a:pt x="34" y="83"/>
                    </a:lnTo>
                    <a:lnTo>
                      <a:pt x="35" y="85"/>
                    </a:lnTo>
                    <a:lnTo>
                      <a:pt x="38" y="85"/>
                    </a:lnTo>
                    <a:lnTo>
                      <a:pt x="39" y="82"/>
                    </a:lnTo>
                    <a:lnTo>
                      <a:pt x="41" y="81"/>
                    </a:lnTo>
                    <a:lnTo>
                      <a:pt x="44" y="81"/>
                    </a:lnTo>
                    <a:lnTo>
                      <a:pt x="48" y="83"/>
                    </a:lnTo>
                    <a:lnTo>
                      <a:pt x="53" y="86"/>
                    </a:lnTo>
                    <a:lnTo>
                      <a:pt x="56" y="88"/>
                    </a:lnTo>
                    <a:lnTo>
                      <a:pt x="59" y="89"/>
                    </a:lnTo>
                    <a:lnTo>
                      <a:pt x="59" y="89"/>
                    </a:lnTo>
                    <a:lnTo>
                      <a:pt x="60" y="89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2" y="86"/>
                    </a:lnTo>
                    <a:lnTo>
                      <a:pt x="64" y="86"/>
                    </a:lnTo>
                    <a:lnTo>
                      <a:pt x="64" y="86"/>
                    </a:lnTo>
                    <a:lnTo>
                      <a:pt x="66" y="85"/>
                    </a:lnTo>
                    <a:lnTo>
                      <a:pt x="64" y="85"/>
                    </a:lnTo>
                    <a:lnTo>
                      <a:pt x="63" y="83"/>
                    </a:lnTo>
                    <a:lnTo>
                      <a:pt x="63" y="83"/>
                    </a:lnTo>
                    <a:lnTo>
                      <a:pt x="62" y="83"/>
                    </a:lnTo>
                    <a:lnTo>
                      <a:pt x="60" y="83"/>
                    </a:lnTo>
                    <a:lnTo>
                      <a:pt x="59" y="83"/>
                    </a:lnTo>
                    <a:lnTo>
                      <a:pt x="57" y="82"/>
                    </a:lnTo>
                    <a:lnTo>
                      <a:pt x="57" y="82"/>
                    </a:lnTo>
                    <a:lnTo>
                      <a:pt x="55" y="81"/>
                    </a:lnTo>
                    <a:lnTo>
                      <a:pt x="52" y="78"/>
                    </a:lnTo>
                    <a:lnTo>
                      <a:pt x="50" y="79"/>
                    </a:lnTo>
                    <a:lnTo>
                      <a:pt x="49" y="81"/>
                    </a:lnTo>
                    <a:lnTo>
                      <a:pt x="48" y="81"/>
                    </a:lnTo>
                    <a:lnTo>
                      <a:pt x="44" y="79"/>
                    </a:lnTo>
                    <a:lnTo>
                      <a:pt x="41" y="79"/>
                    </a:lnTo>
                    <a:lnTo>
                      <a:pt x="39" y="81"/>
                    </a:lnTo>
                    <a:lnTo>
                      <a:pt x="38" y="81"/>
                    </a:lnTo>
                    <a:lnTo>
                      <a:pt x="37" y="81"/>
                    </a:lnTo>
                    <a:lnTo>
                      <a:pt x="34" y="81"/>
                    </a:lnTo>
                    <a:lnTo>
                      <a:pt x="32" y="79"/>
                    </a:lnTo>
                    <a:lnTo>
                      <a:pt x="32" y="78"/>
                    </a:lnTo>
                    <a:lnTo>
                      <a:pt x="31" y="76"/>
                    </a:lnTo>
                    <a:lnTo>
                      <a:pt x="31" y="78"/>
                    </a:lnTo>
                    <a:lnTo>
                      <a:pt x="31" y="79"/>
                    </a:lnTo>
                    <a:lnTo>
                      <a:pt x="30" y="81"/>
                    </a:lnTo>
                    <a:lnTo>
                      <a:pt x="28" y="79"/>
                    </a:lnTo>
                    <a:lnTo>
                      <a:pt x="27" y="76"/>
                    </a:lnTo>
                    <a:lnTo>
                      <a:pt x="25" y="74"/>
                    </a:lnTo>
                    <a:lnTo>
                      <a:pt x="24" y="71"/>
                    </a:lnTo>
                    <a:lnTo>
                      <a:pt x="21" y="69"/>
                    </a:lnTo>
                    <a:lnTo>
                      <a:pt x="21" y="68"/>
                    </a:lnTo>
                    <a:lnTo>
                      <a:pt x="21" y="67"/>
                    </a:lnTo>
                    <a:lnTo>
                      <a:pt x="24" y="67"/>
                    </a:lnTo>
                    <a:lnTo>
                      <a:pt x="27" y="68"/>
                    </a:lnTo>
                    <a:lnTo>
                      <a:pt x="28" y="68"/>
                    </a:lnTo>
                    <a:lnTo>
                      <a:pt x="28" y="67"/>
                    </a:lnTo>
                    <a:lnTo>
                      <a:pt x="28" y="65"/>
                    </a:lnTo>
                    <a:lnTo>
                      <a:pt x="28" y="64"/>
                    </a:lnTo>
                    <a:lnTo>
                      <a:pt x="27" y="64"/>
                    </a:lnTo>
                    <a:lnTo>
                      <a:pt x="27" y="64"/>
                    </a:lnTo>
                    <a:lnTo>
                      <a:pt x="24" y="64"/>
                    </a:lnTo>
                    <a:lnTo>
                      <a:pt x="21" y="65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18" y="61"/>
                    </a:lnTo>
                    <a:lnTo>
                      <a:pt x="16" y="60"/>
                    </a:lnTo>
                    <a:lnTo>
                      <a:pt x="13" y="57"/>
                    </a:lnTo>
                    <a:lnTo>
                      <a:pt x="11" y="53"/>
                    </a:lnTo>
                    <a:lnTo>
                      <a:pt x="9" y="50"/>
                    </a:lnTo>
                    <a:lnTo>
                      <a:pt x="7" y="49"/>
                    </a:lnTo>
                    <a:lnTo>
                      <a:pt x="7" y="49"/>
                    </a:lnTo>
                    <a:lnTo>
                      <a:pt x="9" y="49"/>
                    </a:lnTo>
                    <a:lnTo>
                      <a:pt x="10" y="50"/>
                    </a:lnTo>
                    <a:lnTo>
                      <a:pt x="11" y="50"/>
                    </a:lnTo>
                    <a:lnTo>
                      <a:pt x="11" y="49"/>
                    </a:lnTo>
                    <a:lnTo>
                      <a:pt x="13" y="49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6"/>
                    </a:lnTo>
                    <a:lnTo>
                      <a:pt x="14" y="47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3" y="43"/>
                    </a:lnTo>
                    <a:lnTo>
                      <a:pt x="13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0"/>
                    </a:lnTo>
                    <a:lnTo>
                      <a:pt x="16" y="40"/>
                    </a:lnTo>
                    <a:lnTo>
                      <a:pt x="17" y="40"/>
                    </a:lnTo>
                    <a:lnTo>
                      <a:pt x="18" y="40"/>
                    </a:lnTo>
                    <a:lnTo>
                      <a:pt x="20" y="39"/>
                    </a:lnTo>
                    <a:lnTo>
                      <a:pt x="20" y="37"/>
                    </a:lnTo>
                    <a:lnTo>
                      <a:pt x="20" y="36"/>
                    </a:lnTo>
                    <a:lnTo>
                      <a:pt x="20" y="35"/>
                    </a:lnTo>
                    <a:lnTo>
                      <a:pt x="21" y="33"/>
                    </a:lnTo>
                    <a:lnTo>
                      <a:pt x="21" y="32"/>
                    </a:lnTo>
                    <a:lnTo>
                      <a:pt x="23" y="30"/>
                    </a:lnTo>
                    <a:lnTo>
                      <a:pt x="24" y="30"/>
                    </a:lnTo>
                    <a:lnTo>
                      <a:pt x="25" y="30"/>
                    </a:lnTo>
                    <a:lnTo>
                      <a:pt x="25" y="28"/>
                    </a:lnTo>
                    <a:lnTo>
                      <a:pt x="27" y="26"/>
                    </a:lnTo>
                    <a:lnTo>
                      <a:pt x="27" y="26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8" y="21"/>
                    </a:lnTo>
                    <a:lnTo>
                      <a:pt x="31" y="21"/>
                    </a:lnTo>
                    <a:lnTo>
                      <a:pt x="32" y="21"/>
                    </a:lnTo>
                    <a:lnTo>
                      <a:pt x="34" y="21"/>
                    </a:lnTo>
                    <a:lnTo>
                      <a:pt x="37" y="21"/>
                    </a:lnTo>
                    <a:lnTo>
                      <a:pt x="37" y="21"/>
                    </a:lnTo>
                    <a:lnTo>
                      <a:pt x="39" y="19"/>
                    </a:lnTo>
                    <a:lnTo>
                      <a:pt x="42" y="15"/>
                    </a:lnTo>
                    <a:lnTo>
                      <a:pt x="44" y="15"/>
                    </a:lnTo>
                    <a:lnTo>
                      <a:pt x="46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0" y="15"/>
                    </a:lnTo>
                    <a:lnTo>
                      <a:pt x="53" y="15"/>
                    </a:lnTo>
                    <a:lnTo>
                      <a:pt x="55" y="14"/>
                    </a:lnTo>
                    <a:lnTo>
                      <a:pt x="57" y="14"/>
                    </a:lnTo>
                    <a:lnTo>
                      <a:pt x="57" y="11"/>
                    </a:lnTo>
                    <a:lnTo>
                      <a:pt x="57" y="10"/>
                    </a:lnTo>
                    <a:lnTo>
                      <a:pt x="59" y="10"/>
                    </a:lnTo>
                    <a:lnTo>
                      <a:pt x="60" y="10"/>
                    </a:lnTo>
                    <a:lnTo>
                      <a:pt x="63" y="10"/>
                    </a:lnTo>
                    <a:lnTo>
                      <a:pt x="64" y="10"/>
                    </a:lnTo>
                    <a:lnTo>
                      <a:pt x="66" y="8"/>
                    </a:lnTo>
                    <a:lnTo>
                      <a:pt x="69" y="8"/>
                    </a:lnTo>
                    <a:lnTo>
                      <a:pt x="70" y="8"/>
                    </a:lnTo>
                    <a:lnTo>
                      <a:pt x="71" y="8"/>
                    </a:lnTo>
                    <a:lnTo>
                      <a:pt x="74" y="8"/>
                    </a:lnTo>
                    <a:lnTo>
                      <a:pt x="76" y="8"/>
                    </a:lnTo>
                    <a:lnTo>
                      <a:pt x="78" y="7"/>
                    </a:lnTo>
                    <a:lnTo>
                      <a:pt x="80" y="7"/>
                    </a:lnTo>
                    <a:lnTo>
                      <a:pt x="80" y="7"/>
                    </a:lnTo>
                    <a:lnTo>
                      <a:pt x="81" y="7"/>
                    </a:lnTo>
                    <a:lnTo>
                      <a:pt x="81" y="5"/>
                    </a:lnTo>
                    <a:lnTo>
                      <a:pt x="84" y="5"/>
                    </a:lnTo>
                    <a:lnTo>
                      <a:pt x="85" y="5"/>
                    </a:lnTo>
                    <a:lnTo>
                      <a:pt x="87" y="5"/>
                    </a:lnTo>
                    <a:lnTo>
                      <a:pt x="89" y="4"/>
                    </a:lnTo>
                    <a:lnTo>
                      <a:pt x="89" y="4"/>
                    </a:lnTo>
                    <a:lnTo>
                      <a:pt x="91" y="7"/>
                    </a:lnTo>
                    <a:lnTo>
                      <a:pt x="91" y="7"/>
                    </a:lnTo>
                    <a:lnTo>
                      <a:pt x="92" y="8"/>
                    </a:lnTo>
                    <a:lnTo>
                      <a:pt x="94" y="10"/>
                    </a:lnTo>
                    <a:lnTo>
                      <a:pt x="95" y="8"/>
                    </a:lnTo>
                    <a:lnTo>
                      <a:pt x="95" y="8"/>
                    </a:lnTo>
                    <a:lnTo>
                      <a:pt x="98" y="10"/>
                    </a:lnTo>
                    <a:lnTo>
                      <a:pt x="101" y="10"/>
                    </a:lnTo>
                    <a:lnTo>
                      <a:pt x="103" y="12"/>
                    </a:lnTo>
                    <a:lnTo>
                      <a:pt x="105" y="11"/>
                    </a:lnTo>
                    <a:lnTo>
                      <a:pt x="108" y="11"/>
                    </a:lnTo>
                    <a:lnTo>
                      <a:pt x="109" y="11"/>
                    </a:lnTo>
                    <a:lnTo>
                      <a:pt x="112" y="10"/>
                    </a:lnTo>
                    <a:lnTo>
                      <a:pt x="113" y="10"/>
                    </a:lnTo>
                    <a:lnTo>
                      <a:pt x="115" y="11"/>
                    </a:lnTo>
                    <a:lnTo>
                      <a:pt x="117" y="10"/>
                    </a:lnTo>
                    <a:lnTo>
                      <a:pt x="119" y="8"/>
                    </a:lnTo>
                    <a:lnTo>
                      <a:pt x="119" y="7"/>
                    </a:lnTo>
                    <a:lnTo>
                      <a:pt x="119" y="5"/>
                    </a:lnTo>
                    <a:lnTo>
                      <a:pt x="119" y="3"/>
                    </a:lnTo>
                    <a:lnTo>
                      <a:pt x="117" y="3"/>
                    </a:lnTo>
                    <a:lnTo>
                      <a:pt x="117" y="1"/>
                    </a:lnTo>
                    <a:lnTo>
                      <a:pt x="117" y="1"/>
                    </a:lnTo>
                    <a:lnTo>
                      <a:pt x="119" y="0"/>
                    </a:lnTo>
                    <a:lnTo>
                      <a:pt x="120" y="0"/>
                    </a:lnTo>
                    <a:lnTo>
                      <a:pt x="122" y="1"/>
                    </a:lnTo>
                    <a:close/>
                    <a:moveTo>
                      <a:pt x="94" y="28"/>
                    </a:moveTo>
                    <a:lnTo>
                      <a:pt x="92" y="28"/>
                    </a:lnTo>
                    <a:lnTo>
                      <a:pt x="89" y="26"/>
                    </a:lnTo>
                    <a:lnTo>
                      <a:pt x="89" y="25"/>
                    </a:lnTo>
                    <a:lnTo>
                      <a:pt x="91" y="23"/>
                    </a:lnTo>
                    <a:lnTo>
                      <a:pt x="91" y="23"/>
                    </a:lnTo>
                    <a:lnTo>
                      <a:pt x="94" y="23"/>
                    </a:lnTo>
                    <a:lnTo>
                      <a:pt x="94" y="25"/>
                    </a:lnTo>
                    <a:lnTo>
                      <a:pt x="94" y="25"/>
                    </a:lnTo>
                    <a:lnTo>
                      <a:pt x="94" y="26"/>
                    </a:lnTo>
                    <a:lnTo>
                      <a:pt x="94" y="28"/>
                    </a:lnTo>
                    <a:close/>
                    <a:moveTo>
                      <a:pt x="110" y="32"/>
                    </a:moveTo>
                    <a:lnTo>
                      <a:pt x="109" y="32"/>
                    </a:lnTo>
                    <a:lnTo>
                      <a:pt x="106" y="30"/>
                    </a:lnTo>
                    <a:lnTo>
                      <a:pt x="109" y="29"/>
                    </a:lnTo>
                    <a:lnTo>
                      <a:pt x="109" y="30"/>
                    </a:lnTo>
                    <a:lnTo>
                      <a:pt x="110" y="30"/>
                    </a:lnTo>
                    <a:lnTo>
                      <a:pt x="110" y="32"/>
                    </a:lnTo>
                    <a:close/>
                    <a:moveTo>
                      <a:pt x="106" y="42"/>
                    </a:moveTo>
                    <a:lnTo>
                      <a:pt x="105" y="43"/>
                    </a:lnTo>
                    <a:lnTo>
                      <a:pt x="105" y="44"/>
                    </a:lnTo>
                    <a:lnTo>
                      <a:pt x="105" y="46"/>
                    </a:lnTo>
                    <a:lnTo>
                      <a:pt x="103" y="46"/>
                    </a:lnTo>
                    <a:lnTo>
                      <a:pt x="103" y="46"/>
                    </a:lnTo>
                    <a:lnTo>
                      <a:pt x="103" y="44"/>
                    </a:lnTo>
                    <a:lnTo>
                      <a:pt x="103" y="44"/>
                    </a:lnTo>
                    <a:lnTo>
                      <a:pt x="102" y="44"/>
                    </a:lnTo>
                    <a:lnTo>
                      <a:pt x="102" y="46"/>
                    </a:lnTo>
                    <a:lnTo>
                      <a:pt x="102" y="46"/>
                    </a:lnTo>
                    <a:lnTo>
                      <a:pt x="101" y="46"/>
                    </a:lnTo>
                    <a:lnTo>
                      <a:pt x="99" y="46"/>
                    </a:lnTo>
                    <a:lnTo>
                      <a:pt x="99" y="44"/>
                    </a:lnTo>
                    <a:lnTo>
                      <a:pt x="99" y="42"/>
                    </a:lnTo>
                    <a:lnTo>
                      <a:pt x="99" y="42"/>
                    </a:lnTo>
                    <a:lnTo>
                      <a:pt x="102" y="42"/>
                    </a:lnTo>
                    <a:lnTo>
                      <a:pt x="103" y="43"/>
                    </a:lnTo>
                    <a:lnTo>
                      <a:pt x="105" y="42"/>
                    </a:lnTo>
                    <a:lnTo>
                      <a:pt x="105" y="42"/>
                    </a:lnTo>
                    <a:lnTo>
                      <a:pt x="106" y="40"/>
                    </a:lnTo>
                    <a:lnTo>
                      <a:pt x="106" y="42"/>
                    </a:lnTo>
                    <a:close/>
                    <a:moveTo>
                      <a:pt x="9" y="56"/>
                    </a:moveTo>
                    <a:lnTo>
                      <a:pt x="9" y="57"/>
                    </a:lnTo>
                    <a:lnTo>
                      <a:pt x="7" y="56"/>
                    </a:lnTo>
                    <a:lnTo>
                      <a:pt x="6" y="54"/>
                    </a:lnTo>
                    <a:lnTo>
                      <a:pt x="5" y="51"/>
                    </a:lnTo>
                    <a:lnTo>
                      <a:pt x="2" y="49"/>
                    </a:lnTo>
                    <a:lnTo>
                      <a:pt x="0" y="47"/>
                    </a:lnTo>
                    <a:lnTo>
                      <a:pt x="2" y="46"/>
                    </a:lnTo>
                    <a:lnTo>
                      <a:pt x="5" y="46"/>
                    </a:lnTo>
                    <a:lnTo>
                      <a:pt x="6" y="46"/>
                    </a:lnTo>
                    <a:lnTo>
                      <a:pt x="6" y="47"/>
                    </a:lnTo>
                    <a:lnTo>
                      <a:pt x="6" y="47"/>
                    </a:lnTo>
                    <a:lnTo>
                      <a:pt x="5" y="49"/>
                    </a:lnTo>
                    <a:lnTo>
                      <a:pt x="5" y="50"/>
                    </a:lnTo>
                    <a:lnTo>
                      <a:pt x="6" y="50"/>
                    </a:lnTo>
                    <a:lnTo>
                      <a:pt x="6" y="51"/>
                    </a:lnTo>
                    <a:lnTo>
                      <a:pt x="6" y="53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9" y="56"/>
                    </a:lnTo>
                    <a:close/>
                    <a:moveTo>
                      <a:pt x="124" y="57"/>
                    </a:moveTo>
                    <a:lnTo>
                      <a:pt x="123" y="58"/>
                    </a:lnTo>
                    <a:lnTo>
                      <a:pt x="126" y="61"/>
                    </a:lnTo>
                    <a:lnTo>
                      <a:pt x="127" y="63"/>
                    </a:lnTo>
                    <a:lnTo>
                      <a:pt x="127" y="64"/>
                    </a:lnTo>
                    <a:lnTo>
                      <a:pt x="127" y="64"/>
                    </a:lnTo>
                    <a:lnTo>
                      <a:pt x="126" y="64"/>
                    </a:lnTo>
                    <a:lnTo>
                      <a:pt x="126" y="64"/>
                    </a:lnTo>
                    <a:lnTo>
                      <a:pt x="126" y="64"/>
                    </a:lnTo>
                    <a:lnTo>
                      <a:pt x="126" y="65"/>
                    </a:lnTo>
                    <a:lnTo>
                      <a:pt x="124" y="65"/>
                    </a:lnTo>
                    <a:lnTo>
                      <a:pt x="123" y="65"/>
                    </a:lnTo>
                    <a:lnTo>
                      <a:pt x="119" y="64"/>
                    </a:lnTo>
                    <a:lnTo>
                      <a:pt x="119" y="63"/>
                    </a:lnTo>
                    <a:lnTo>
                      <a:pt x="122" y="61"/>
                    </a:lnTo>
                    <a:lnTo>
                      <a:pt x="122" y="61"/>
                    </a:lnTo>
                    <a:lnTo>
                      <a:pt x="120" y="61"/>
                    </a:lnTo>
                    <a:lnTo>
                      <a:pt x="117" y="63"/>
                    </a:lnTo>
                    <a:lnTo>
                      <a:pt x="115" y="63"/>
                    </a:lnTo>
                    <a:lnTo>
                      <a:pt x="113" y="61"/>
                    </a:lnTo>
                    <a:lnTo>
                      <a:pt x="113" y="61"/>
                    </a:lnTo>
                    <a:lnTo>
                      <a:pt x="115" y="58"/>
                    </a:lnTo>
                    <a:lnTo>
                      <a:pt x="117" y="58"/>
                    </a:lnTo>
                    <a:lnTo>
                      <a:pt x="117" y="58"/>
                    </a:lnTo>
                    <a:lnTo>
                      <a:pt x="119" y="57"/>
                    </a:lnTo>
                    <a:lnTo>
                      <a:pt x="119" y="57"/>
                    </a:lnTo>
                    <a:lnTo>
                      <a:pt x="123" y="56"/>
                    </a:lnTo>
                    <a:lnTo>
                      <a:pt x="124" y="57"/>
                    </a:lnTo>
                    <a:close/>
                    <a:moveTo>
                      <a:pt x="78" y="61"/>
                    </a:moveTo>
                    <a:lnTo>
                      <a:pt x="77" y="61"/>
                    </a:lnTo>
                    <a:lnTo>
                      <a:pt x="78" y="60"/>
                    </a:lnTo>
                    <a:lnTo>
                      <a:pt x="80" y="58"/>
                    </a:lnTo>
                    <a:lnTo>
                      <a:pt x="78" y="60"/>
                    </a:lnTo>
                    <a:lnTo>
                      <a:pt x="78" y="61"/>
                    </a:lnTo>
                    <a:close/>
                    <a:moveTo>
                      <a:pt x="76" y="63"/>
                    </a:moveTo>
                    <a:lnTo>
                      <a:pt x="76" y="64"/>
                    </a:lnTo>
                    <a:lnTo>
                      <a:pt x="74" y="63"/>
                    </a:lnTo>
                    <a:lnTo>
                      <a:pt x="73" y="60"/>
                    </a:lnTo>
                    <a:lnTo>
                      <a:pt x="76" y="63"/>
                    </a:lnTo>
                    <a:close/>
                    <a:moveTo>
                      <a:pt x="70" y="67"/>
                    </a:moveTo>
                    <a:lnTo>
                      <a:pt x="70" y="68"/>
                    </a:lnTo>
                    <a:lnTo>
                      <a:pt x="71" y="69"/>
                    </a:lnTo>
                    <a:lnTo>
                      <a:pt x="73" y="71"/>
                    </a:lnTo>
                    <a:lnTo>
                      <a:pt x="74" y="71"/>
                    </a:lnTo>
                    <a:lnTo>
                      <a:pt x="78" y="72"/>
                    </a:lnTo>
                    <a:lnTo>
                      <a:pt x="83" y="72"/>
                    </a:lnTo>
                    <a:lnTo>
                      <a:pt x="83" y="74"/>
                    </a:lnTo>
                    <a:lnTo>
                      <a:pt x="83" y="75"/>
                    </a:lnTo>
                    <a:lnTo>
                      <a:pt x="84" y="75"/>
                    </a:lnTo>
                    <a:lnTo>
                      <a:pt x="84" y="76"/>
                    </a:lnTo>
                    <a:lnTo>
                      <a:pt x="84" y="78"/>
                    </a:lnTo>
                    <a:lnTo>
                      <a:pt x="84" y="81"/>
                    </a:lnTo>
                    <a:lnTo>
                      <a:pt x="85" y="83"/>
                    </a:lnTo>
                    <a:lnTo>
                      <a:pt x="87" y="85"/>
                    </a:lnTo>
                    <a:lnTo>
                      <a:pt x="88" y="85"/>
                    </a:lnTo>
                    <a:lnTo>
                      <a:pt x="91" y="85"/>
                    </a:lnTo>
                    <a:lnTo>
                      <a:pt x="91" y="85"/>
                    </a:lnTo>
                    <a:lnTo>
                      <a:pt x="91" y="88"/>
                    </a:lnTo>
                    <a:lnTo>
                      <a:pt x="89" y="89"/>
                    </a:lnTo>
                    <a:lnTo>
                      <a:pt x="89" y="89"/>
                    </a:lnTo>
                    <a:lnTo>
                      <a:pt x="88" y="89"/>
                    </a:lnTo>
                    <a:lnTo>
                      <a:pt x="88" y="88"/>
                    </a:lnTo>
                    <a:lnTo>
                      <a:pt x="88" y="88"/>
                    </a:lnTo>
                    <a:lnTo>
                      <a:pt x="87" y="88"/>
                    </a:lnTo>
                    <a:lnTo>
                      <a:pt x="85" y="86"/>
                    </a:lnTo>
                    <a:lnTo>
                      <a:pt x="84" y="86"/>
                    </a:lnTo>
                    <a:lnTo>
                      <a:pt x="84" y="85"/>
                    </a:lnTo>
                    <a:lnTo>
                      <a:pt x="84" y="83"/>
                    </a:lnTo>
                    <a:lnTo>
                      <a:pt x="83" y="82"/>
                    </a:lnTo>
                    <a:lnTo>
                      <a:pt x="83" y="81"/>
                    </a:lnTo>
                    <a:lnTo>
                      <a:pt x="81" y="81"/>
                    </a:lnTo>
                    <a:lnTo>
                      <a:pt x="81" y="79"/>
                    </a:lnTo>
                    <a:lnTo>
                      <a:pt x="81" y="79"/>
                    </a:lnTo>
                    <a:lnTo>
                      <a:pt x="78" y="79"/>
                    </a:lnTo>
                    <a:lnTo>
                      <a:pt x="76" y="79"/>
                    </a:lnTo>
                    <a:lnTo>
                      <a:pt x="74" y="78"/>
                    </a:lnTo>
                    <a:lnTo>
                      <a:pt x="73" y="75"/>
                    </a:lnTo>
                    <a:lnTo>
                      <a:pt x="71" y="75"/>
                    </a:lnTo>
                    <a:lnTo>
                      <a:pt x="71" y="74"/>
                    </a:lnTo>
                    <a:lnTo>
                      <a:pt x="70" y="74"/>
                    </a:lnTo>
                    <a:lnTo>
                      <a:pt x="69" y="71"/>
                    </a:lnTo>
                    <a:lnTo>
                      <a:pt x="66" y="69"/>
                    </a:lnTo>
                    <a:lnTo>
                      <a:pt x="64" y="68"/>
                    </a:lnTo>
                    <a:lnTo>
                      <a:pt x="63" y="68"/>
                    </a:lnTo>
                    <a:lnTo>
                      <a:pt x="60" y="69"/>
                    </a:lnTo>
                    <a:lnTo>
                      <a:pt x="60" y="68"/>
                    </a:lnTo>
                    <a:lnTo>
                      <a:pt x="59" y="68"/>
                    </a:lnTo>
                    <a:lnTo>
                      <a:pt x="62" y="67"/>
                    </a:lnTo>
                    <a:lnTo>
                      <a:pt x="64" y="65"/>
                    </a:lnTo>
                    <a:lnTo>
                      <a:pt x="67" y="64"/>
                    </a:lnTo>
                    <a:lnTo>
                      <a:pt x="67" y="64"/>
                    </a:lnTo>
                    <a:lnTo>
                      <a:pt x="70" y="67"/>
                    </a:lnTo>
                    <a:close/>
                    <a:moveTo>
                      <a:pt x="92" y="69"/>
                    </a:moveTo>
                    <a:lnTo>
                      <a:pt x="91" y="69"/>
                    </a:lnTo>
                    <a:lnTo>
                      <a:pt x="89" y="69"/>
                    </a:lnTo>
                    <a:lnTo>
                      <a:pt x="91" y="69"/>
                    </a:lnTo>
                    <a:lnTo>
                      <a:pt x="91" y="69"/>
                    </a:lnTo>
                    <a:lnTo>
                      <a:pt x="88" y="68"/>
                    </a:lnTo>
                    <a:lnTo>
                      <a:pt x="88" y="65"/>
                    </a:lnTo>
                    <a:lnTo>
                      <a:pt x="89" y="65"/>
                    </a:lnTo>
                    <a:lnTo>
                      <a:pt x="91" y="67"/>
                    </a:lnTo>
                    <a:lnTo>
                      <a:pt x="91" y="68"/>
                    </a:lnTo>
                    <a:lnTo>
                      <a:pt x="92" y="69"/>
                    </a:lnTo>
                    <a:close/>
                    <a:moveTo>
                      <a:pt x="20" y="74"/>
                    </a:moveTo>
                    <a:lnTo>
                      <a:pt x="20" y="75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7" y="75"/>
                    </a:lnTo>
                    <a:lnTo>
                      <a:pt x="17" y="72"/>
                    </a:lnTo>
                    <a:lnTo>
                      <a:pt x="18" y="71"/>
                    </a:lnTo>
                    <a:lnTo>
                      <a:pt x="18" y="69"/>
                    </a:lnTo>
                    <a:lnTo>
                      <a:pt x="20" y="68"/>
                    </a:lnTo>
                    <a:lnTo>
                      <a:pt x="20" y="69"/>
                    </a:lnTo>
                    <a:lnTo>
                      <a:pt x="20" y="74"/>
                    </a:lnTo>
                    <a:lnTo>
                      <a:pt x="20" y="74"/>
                    </a:lnTo>
                    <a:close/>
                    <a:moveTo>
                      <a:pt x="119" y="83"/>
                    </a:moveTo>
                    <a:lnTo>
                      <a:pt x="116" y="85"/>
                    </a:lnTo>
                    <a:lnTo>
                      <a:pt x="115" y="82"/>
                    </a:lnTo>
                    <a:lnTo>
                      <a:pt x="115" y="82"/>
                    </a:lnTo>
                    <a:lnTo>
                      <a:pt x="116" y="81"/>
                    </a:lnTo>
                    <a:lnTo>
                      <a:pt x="116" y="81"/>
                    </a:lnTo>
                    <a:lnTo>
                      <a:pt x="116" y="79"/>
                    </a:lnTo>
                    <a:lnTo>
                      <a:pt x="113" y="76"/>
                    </a:lnTo>
                    <a:lnTo>
                      <a:pt x="113" y="75"/>
                    </a:lnTo>
                    <a:lnTo>
                      <a:pt x="116" y="74"/>
                    </a:lnTo>
                    <a:lnTo>
                      <a:pt x="119" y="75"/>
                    </a:lnTo>
                    <a:lnTo>
                      <a:pt x="119" y="75"/>
                    </a:lnTo>
                    <a:lnTo>
                      <a:pt x="119" y="76"/>
                    </a:lnTo>
                    <a:lnTo>
                      <a:pt x="119" y="78"/>
                    </a:lnTo>
                    <a:lnTo>
                      <a:pt x="119" y="81"/>
                    </a:lnTo>
                    <a:lnTo>
                      <a:pt x="119" y="82"/>
                    </a:lnTo>
                    <a:lnTo>
                      <a:pt x="119" y="83"/>
                    </a:lnTo>
                    <a:lnTo>
                      <a:pt x="119" y="83"/>
                    </a:lnTo>
                    <a:close/>
                    <a:moveTo>
                      <a:pt x="21" y="81"/>
                    </a:moveTo>
                    <a:lnTo>
                      <a:pt x="20" y="81"/>
                    </a:lnTo>
                    <a:lnTo>
                      <a:pt x="20" y="79"/>
                    </a:lnTo>
                    <a:lnTo>
                      <a:pt x="18" y="78"/>
                    </a:lnTo>
                    <a:lnTo>
                      <a:pt x="20" y="76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20" y="79"/>
                    </a:lnTo>
                    <a:lnTo>
                      <a:pt x="21" y="79"/>
                    </a:lnTo>
                    <a:lnTo>
                      <a:pt x="21" y="81"/>
                    </a:lnTo>
                    <a:close/>
                    <a:moveTo>
                      <a:pt x="18" y="79"/>
                    </a:moveTo>
                    <a:lnTo>
                      <a:pt x="18" y="82"/>
                    </a:lnTo>
                    <a:lnTo>
                      <a:pt x="20" y="82"/>
                    </a:lnTo>
                    <a:lnTo>
                      <a:pt x="21" y="85"/>
                    </a:lnTo>
                    <a:lnTo>
                      <a:pt x="21" y="86"/>
                    </a:lnTo>
                    <a:lnTo>
                      <a:pt x="21" y="86"/>
                    </a:lnTo>
                    <a:lnTo>
                      <a:pt x="18" y="85"/>
                    </a:lnTo>
                    <a:lnTo>
                      <a:pt x="18" y="86"/>
                    </a:lnTo>
                    <a:lnTo>
                      <a:pt x="17" y="86"/>
                    </a:lnTo>
                    <a:lnTo>
                      <a:pt x="17" y="85"/>
                    </a:lnTo>
                    <a:lnTo>
                      <a:pt x="17" y="83"/>
                    </a:lnTo>
                    <a:lnTo>
                      <a:pt x="16" y="83"/>
                    </a:lnTo>
                    <a:lnTo>
                      <a:pt x="16" y="83"/>
                    </a:lnTo>
                    <a:lnTo>
                      <a:pt x="14" y="83"/>
                    </a:lnTo>
                    <a:lnTo>
                      <a:pt x="14" y="83"/>
                    </a:lnTo>
                    <a:lnTo>
                      <a:pt x="14" y="83"/>
                    </a:lnTo>
                    <a:lnTo>
                      <a:pt x="14" y="81"/>
                    </a:lnTo>
                    <a:lnTo>
                      <a:pt x="16" y="81"/>
                    </a:lnTo>
                    <a:lnTo>
                      <a:pt x="16" y="81"/>
                    </a:lnTo>
                    <a:lnTo>
                      <a:pt x="17" y="81"/>
                    </a:lnTo>
                    <a:lnTo>
                      <a:pt x="17" y="79"/>
                    </a:lnTo>
                    <a:lnTo>
                      <a:pt x="17" y="78"/>
                    </a:lnTo>
                    <a:lnTo>
                      <a:pt x="17" y="78"/>
                    </a:lnTo>
                    <a:lnTo>
                      <a:pt x="18" y="79"/>
                    </a:lnTo>
                    <a:close/>
                    <a:moveTo>
                      <a:pt x="71" y="90"/>
                    </a:moveTo>
                    <a:lnTo>
                      <a:pt x="71" y="90"/>
                    </a:lnTo>
                    <a:lnTo>
                      <a:pt x="70" y="90"/>
                    </a:lnTo>
                    <a:lnTo>
                      <a:pt x="70" y="90"/>
                    </a:lnTo>
                    <a:lnTo>
                      <a:pt x="70" y="90"/>
                    </a:lnTo>
                    <a:lnTo>
                      <a:pt x="70" y="89"/>
                    </a:lnTo>
                    <a:lnTo>
                      <a:pt x="70" y="89"/>
                    </a:lnTo>
                    <a:lnTo>
                      <a:pt x="71" y="89"/>
                    </a:lnTo>
                    <a:lnTo>
                      <a:pt x="71" y="89"/>
                    </a:lnTo>
                    <a:lnTo>
                      <a:pt x="71" y="89"/>
                    </a:lnTo>
                    <a:lnTo>
                      <a:pt x="71" y="90"/>
                    </a:lnTo>
                    <a:close/>
                    <a:moveTo>
                      <a:pt x="98" y="93"/>
                    </a:moveTo>
                    <a:lnTo>
                      <a:pt x="98" y="96"/>
                    </a:lnTo>
                    <a:lnTo>
                      <a:pt x="96" y="93"/>
                    </a:lnTo>
                    <a:lnTo>
                      <a:pt x="95" y="92"/>
                    </a:lnTo>
                    <a:lnTo>
                      <a:pt x="94" y="92"/>
                    </a:lnTo>
                    <a:lnTo>
                      <a:pt x="94" y="90"/>
                    </a:lnTo>
                    <a:lnTo>
                      <a:pt x="92" y="89"/>
                    </a:lnTo>
                    <a:lnTo>
                      <a:pt x="94" y="89"/>
                    </a:lnTo>
                    <a:lnTo>
                      <a:pt x="95" y="89"/>
                    </a:lnTo>
                    <a:lnTo>
                      <a:pt x="95" y="90"/>
                    </a:lnTo>
                    <a:lnTo>
                      <a:pt x="98" y="90"/>
                    </a:lnTo>
                    <a:lnTo>
                      <a:pt x="98" y="92"/>
                    </a:lnTo>
                    <a:lnTo>
                      <a:pt x="98" y="93"/>
                    </a:lnTo>
                    <a:lnTo>
                      <a:pt x="98" y="93"/>
                    </a:lnTo>
                    <a:close/>
                    <a:moveTo>
                      <a:pt x="24" y="93"/>
                    </a:moveTo>
                    <a:lnTo>
                      <a:pt x="25" y="95"/>
                    </a:lnTo>
                    <a:lnTo>
                      <a:pt x="24" y="95"/>
                    </a:lnTo>
                    <a:lnTo>
                      <a:pt x="23" y="96"/>
                    </a:lnTo>
                    <a:lnTo>
                      <a:pt x="20" y="95"/>
                    </a:lnTo>
                    <a:lnTo>
                      <a:pt x="18" y="92"/>
                    </a:lnTo>
                    <a:lnTo>
                      <a:pt x="18" y="92"/>
                    </a:lnTo>
                    <a:lnTo>
                      <a:pt x="20" y="90"/>
                    </a:lnTo>
                    <a:lnTo>
                      <a:pt x="21" y="92"/>
                    </a:lnTo>
                    <a:lnTo>
                      <a:pt x="23" y="92"/>
                    </a:lnTo>
                    <a:lnTo>
                      <a:pt x="24" y="93"/>
                    </a:lnTo>
                    <a:close/>
                    <a:moveTo>
                      <a:pt x="131" y="93"/>
                    </a:moveTo>
                    <a:lnTo>
                      <a:pt x="134" y="93"/>
                    </a:lnTo>
                    <a:lnTo>
                      <a:pt x="134" y="93"/>
                    </a:lnTo>
                    <a:lnTo>
                      <a:pt x="135" y="93"/>
                    </a:lnTo>
                    <a:lnTo>
                      <a:pt x="135" y="95"/>
                    </a:lnTo>
                    <a:lnTo>
                      <a:pt x="134" y="95"/>
                    </a:lnTo>
                    <a:lnTo>
                      <a:pt x="131" y="96"/>
                    </a:lnTo>
                    <a:lnTo>
                      <a:pt x="131" y="96"/>
                    </a:lnTo>
                    <a:lnTo>
                      <a:pt x="130" y="95"/>
                    </a:lnTo>
                    <a:lnTo>
                      <a:pt x="127" y="95"/>
                    </a:lnTo>
                    <a:lnTo>
                      <a:pt x="127" y="95"/>
                    </a:lnTo>
                    <a:lnTo>
                      <a:pt x="128" y="93"/>
                    </a:lnTo>
                    <a:lnTo>
                      <a:pt x="130" y="93"/>
                    </a:lnTo>
                    <a:lnTo>
                      <a:pt x="131" y="93"/>
                    </a:lnTo>
                    <a:close/>
                    <a:moveTo>
                      <a:pt x="87" y="97"/>
                    </a:moveTo>
                    <a:lnTo>
                      <a:pt x="85" y="99"/>
                    </a:lnTo>
                    <a:lnTo>
                      <a:pt x="85" y="97"/>
                    </a:lnTo>
                    <a:lnTo>
                      <a:pt x="85" y="96"/>
                    </a:lnTo>
                    <a:lnTo>
                      <a:pt x="87" y="96"/>
                    </a:lnTo>
                    <a:lnTo>
                      <a:pt x="87" y="96"/>
                    </a:lnTo>
                    <a:lnTo>
                      <a:pt x="87" y="97"/>
                    </a:lnTo>
                    <a:close/>
                    <a:moveTo>
                      <a:pt x="103" y="97"/>
                    </a:moveTo>
                    <a:lnTo>
                      <a:pt x="102" y="99"/>
                    </a:lnTo>
                    <a:lnTo>
                      <a:pt x="101" y="99"/>
                    </a:lnTo>
                    <a:lnTo>
                      <a:pt x="99" y="97"/>
                    </a:lnTo>
                    <a:lnTo>
                      <a:pt x="98" y="96"/>
                    </a:lnTo>
                    <a:lnTo>
                      <a:pt x="98" y="96"/>
                    </a:lnTo>
                    <a:lnTo>
                      <a:pt x="99" y="96"/>
                    </a:lnTo>
                    <a:lnTo>
                      <a:pt x="99" y="96"/>
                    </a:lnTo>
                    <a:lnTo>
                      <a:pt x="102" y="97"/>
                    </a:lnTo>
                    <a:lnTo>
                      <a:pt x="103" y="97"/>
                    </a:lnTo>
                    <a:close/>
                    <a:moveTo>
                      <a:pt x="117" y="99"/>
                    </a:moveTo>
                    <a:lnTo>
                      <a:pt x="116" y="99"/>
                    </a:lnTo>
                    <a:lnTo>
                      <a:pt x="116" y="99"/>
                    </a:lnTo>
                    <a:lnTo>
                      <a:pt x="117" y="96"/>
                    </a:lnTo>
                    <a:lnTo>
                      <a:pt x="120" y="96"/>
                    </a:lnTo>
                    <a:lnTo>
                      <a:pt x="123" y="96"/>
                    </a:lnTo>
                    <a:lnTo>
                      <a:pt x="123" y="96"/>
                    </a:lnTo>
                    <a:lnTo>
                      <a:pt x="122" y="97"/>
                    </a:lnTo>
                    <a:lnTo>
                      <a:pt x="120" y="99"/>
                    </a:lnTo>
                    <a:lnTo>
                      <a:pt x="117" y="99"/>
                    </a:lnTo>
                    <a:close/>
                    <a:moveTo>
                      <a:pt x="106" y="102"/>
                    </a:moveTo>
                    <a:lnTo>
                      <a:pt x="103" y="102"/>
                    </a:lnTo>
                    <a:lnTo>
                      <a:pt x="103" y="100"/>
                    </a:lnTo>
                    <a:lnTo>
                      <a:pt x="105" y="100"/>
                    </a:lnTo>
                    <a:lnTo>
                      <a:pt x="106" y="100"/>
                    </a:lnTo>
                    <a:lnTo>
                      <a:pt x="106" y="102"/>
                    </a:lnTo>
                    <a:lnTo>
                      <a:pt x="106" y="102"/>
                    </a:lnTo>
                    <a:close/>
                    <a:moveTo>
                      <a:pt x="98" y="100"/>
                    </a:moveTo>
                    <a:lnTo>
                      <a:pt x="96" y="102"/>
                    </a:lnTo>
                    <a:lnTo>
                      <a:pt x="96" y="102"/>
                    </a:lnTo>
                    <a:lnTo>
                      <a:pt x="96" y="102"/>
                    </a:lnTo>
                    <a:lnTo>
                      <a:pt x="96" y="102"/>
                    </a:lnTo>
                    <a:lnTo>
                      <a:pt x="96" y="100"/>
                    </a:lnTo>
                    <a:lnTo>
                      <a:pt x="98" y="100"/>
                    </a:lnTo>
                    <a:close/>
                    <a:moveTo>
                      <a:pt x="88" y="103"/>
                    </a:moveTo>
                    <a:lnTo>
                      <a:pt x="87" y="104"/>
                    </a:lnTo>
                    <a:lnTo>
                      <a:pt x="87" y="103"/>
                    </a:lnTo>
                    <a:lnTo>
                      <a:pt x="87" y="102"/>
                    </a:lnTo>
                    <a:lnTo>
                      <a:pt x="87" y="100"/>
                    </a:lnTo>
                    <a:lnTo>
                      <a:pt x="88" y="100"/>
                    </a:lnTo>
                    <a:lnTo>
                      <a:pt x="88" y="100"/>
                    </a:lnTo>
                    <a:lnTo>
                      <a:pt x="89" y="102"/>
                    </a:lnTo>
                    <a:lnTo>
                      <a:pt x="88" y="103"/>
                    </a:lnTo>
                    <a:close/>
                    <a:moveTo>
                      <a:pt x="89" y="109"/>
                    </a:moveTo>
                    <a:lnTo>
                      <a:pt x="89" y="109"/>
                    </a:lnTo>
                    <a:lnTo>
                      <a:pt x="88" y="109"/>
                    </a:lnTo>
                    <a:lnTo>
                      <a:pt x="88" y="107"/>
                    </a:lnTo>
                    <a:lnTo>
                      <a:pt x="89" y="106"/>
                    </a:lnTo>
                    <a:lnTo>
                      <a:pt x="89" y="107"/>
                    </a:lnTo>
                    <a:lnTo>
                      <a:pt x="89" y="107"/>
                    </a:lnTo>
                    <a:lnTo>
                      <a:pt x="89" y="109"/>
                    </a:lnTo>
                    <a:close/>
                    <a:moveTo>
                      <a:pt x="108" y="111"/>
                    </a:moveTo>
                    <a:lnTo>
                      <a:pt x="106" y="113"/>
                    </a:lnTo>
                    <a:lnTo>
                      <a:pt x="105" y="111"/>
                    </a:lnTo>
                    <a:lnTo>
                      <a:pt x="105" y="110"/>
                    </a:lnTo>
                    <a:lnTo>
                      <a:pt x="108" y="107"/>
                    </a:lnTo>
                    <a:lnTo>
                      <a:pt x="109" y="107"/>
                    </a:lnTo>
                    <a:lnTo>
                      <a:pt x="109" y="107"/>
                    </a:lnTo>
                    <a:lnTo>
                      <a:pt x="109" y="110"/>
                    </a:lnTo>
                    <a:lnTo>
                      <a:pt x="108" y="111"/>
                    </a:lnTo>
                    <a:close/>
                    <a:moveTo>
                      <a:pt x="103" y="110"/>
                    </a:moveTo>
                    <a:lnTo>
                      <a:pt x="102" y="111"/>
                    </a:lnTo>
                    <a:lnTo>
                      <a:pt x="101" y="111"/>
                    </a:lnTo>
                    <a:lnTo>
                      <a:pt x="101" y="110"/>
                    </a:lnTo>
                    <a:lnTo>
                      <a:pt x="101" y="109"/>
                    </a:lnTo>
                    <a:lnTo>
                      <a:pt x="102" y="107"/>
                    </a:lnTo>
                    <a:lnTo>
                      <a:pt x="103" y="109"/>
                    </a:lnTo>
                    <a:lnTo>
                      <a:pt x="103" y="109"/>
                    </a:lnTo>
                    <a:lnTo>
                      <a:pt x="103" y="110"/>
                    </a:lnTo>
                    <a:close/>
                    <a:moveTo>
                      <a:pt x="135" y="111"/>
                    </a:moveTo>
                    <a:lnTo>
                      <a:pt x="133" y="113"/>
                    </a:lnTo>
                    <a:lnTo>
                      <a:pt x="134" y="110"/>
                    </a:lnTo>
                    <a:lnTo>
                      <a:pt x="133" y="109"/>
                    </a:lnTo>
                    <a:lnTo>
                      <a:pt x="134" y="110"/>
                    </a:lnTo>
                    <a:lnTo>
                      <a:pt x="135" y="111"/>
                    </a:lnTo>
                    <a:lnTo>
                      <a:pt x="135" y="111"/>
                    </a:lnTo>
                    <a:lnTo>
                      <a:pt x="135" y="111"/>
                    </a:lnTo>
                    <a:lnTo>
                      <a:pt x="135" y="111"/>
                    </a:lnTo>
                    <a:close/>
                    <a:moveTo>
                      <a:pt x="94" y="113"/>
                    </a:moveTo>
                    <a:lnTo>
                      <a:pt x="92" y="113"/>
                    </a:lnTo>
                    <a:lnTo>
                      <a:pt x="92" y="111"/>
                    </a:lnTo>
                    <a:lnTo>
                      <a:pt x="92" y="111"/>
                    </a:lnTo>
                    <a:lnTo>
                      <a:pt x="92" y="110"/>
                    </a:lnTo>
                    <a:lnTo>
                      <a:pt x="94" y="110"/>
                    </a:lnTo>
                    <a:lnTo>
                      <a:pt x="94" y="113"/>
                    </a:lnTo>
                    <a:lnTo>
                      <a:pt x="94" y="113"/>
                    </a:lnTo>
                    <a:close/>
                    <a:moveTo>
                      <a:pt x="113" y="115"/>
                    </a:moveTo>
                    <a:lnTo>
                      <a:pt x="112" y="115"/>
                    </a:lnTo>
                    <a:lnTo>
                      <a:pt x="112" y="115"/>
                    </a:lnTo>
                    <a:lnTo>
                      <a:pt x="113" y="115"/>
                    </a:lnTo>
                    <a:lnTo>
                      <a:pt x="113" y="115"/>
                    </a:lnTo>
                    <a:lnTo>
                      <a:pt x="113" y="114"/>
                    </a:lnTo>
                    <a:lnTo>
                      <a:pt x="116" y="114"/>
                    </a:lnTo>
                    <a:lnTo>
                      <a:pt x="116" y="113"/>
                    </a:lnTo>
                    <a:lnTo>
                      <a:pt x="117" y="113"/>
                    </a:lnTo>
                    <a:lnTo>
                      <a:pt x="116" y="114"/>
                    </a:lnTo>
                    <a:lnTo>
                      <a:pt x="113" y="115"/>
                    </a:lnTo>
                    <a:close/>
                    <a:moveTo>
                      <a:pt x="134" y="117"/>
                    </a:moveTo>
                    <a:lnTo>
                      <a:pt x="133" y="117"/>
                    </a:lnTo>
                    <a:lnTo>
                      <a:pt x="134" y="115"/>
                    </a:lnTo>
                    <a:lnTo>
                      <a:pt x="135" y="114"/>
                    </a:lnTo>
                    <a:lnTo>
                      <a:pt x="138" y="113"/>
                    </a:lnTo>
                    <a:lnTo>
                      <a:pt x="140" y="113"/>
                    </a:lnTo>
                    <a:lnTo>
                      <a:pt x="141" y="114"/>
                    </a:lnTo>
                    <a:lnTo>
                      <a:pt x="138" y="115"/>
                    </a:lnTo>
                    <a:lnTo>
                      <a:pt x="137" y="115"/>
                    </a:lnTo>
                    <a:lnTo>
                      <a:pt x="135" y="117"/>
                    </a:lnTo>
                    <a:lnTo>
                      <a:pt x="134" y="117"/>
                    </a:lnTo>
                    <a:close/>
                    <a:moveTo>
                      <a:pt x="105" y="118"/>
                    </a:moveTo>
                    <a:lnTo>
                      <a:pt x="105" y="118"/>
                    </a:lnTo>
                    <a:lnTo>
                      <a:pt x="103" y="117"/>
                    </a:lnTo>
                    <a:lnTo>
                      <a:pt x="103" y="117"/>
                    </a:lnTo>
                    <a:lnTo>
                      <a:pt x="103" y="115"/>
                    </a:lnTo>
                    <a:lnTo>
                      <a:pt x="106" y="117"/>
                    </a:lnTo>
                    <a:lnTo>
                      <a:pt x="105" y="118"/>
                    </a:lnTo>
                    <a:close/>
                    <a:moveTo>
                      <a:pt x="89" y="117"/>
                    </a:moveTo>
                    <a:lnTo>
                      <a:pt x="89" y="118"/>
                    </a:lnTo>
                    <a:lnTo>
                      <a:pt x="89" y="118"/>
                    </a:lnTo>
                    <a:lnTo>
                      <a:pt x="85" y="118"/>
                    </a:lnTo>
                    <a:lnTo>
                      <a:pt x="87" y="117"/>
                    </a:lnTo>
                    <a:lnTo>
                      <a:pt x="87" y="117"/>
                    </a:lnTo>
                    <a:lnTo>
                      <a:pt x="88" y="117"/>
                    </a:lnTo>
                    <a:lnTo>
                      <a:pt x="88" y="117"/>
                    </a:lnTo>
                    <a:lnTo>
                      <a:pt x="88" y="117"/>
                    </a:lnTo>
                    <a:lnTo>
                      <a:pt x="89" y="117"/>
                    </a:lnTo>
                    <a:close/>
                    <a:moveTo>
                      <a:pt x="151" y="121"/>
                    </a:moveTo>
                    <a:lnTo>
                      <a:pt x="149" y="121"/>
                    </a:lnTo>
                    <a:lnTo>
                      <a:pt x="149" y="121"/>
                    </a:lnTo>
                    <a:lnTo>
                      <a:pt x="149" y="120"/>
                    </a:lnTo>
                    <a:lnTo>
                      <a:pt x="149" y="120"/>
                    </a:lnTo>
                    <a:lnTo>
                      <a:pt x="151" y="120"/>
                    </a:lnTo>
                    <a:lnTo>
                      <a:pt x="151" y="120"/>
                    </a:lnTo>
                    <a:lnTo>
                      <a:pt x="151" y="121"/>
                    </a:lnTo>
                    <a:lnTo>
                      <a:pt x="151" y="121"/>
                    </a:lnTo>
                    <a:close/>
                    <a:moveTo>
                      <a:pt x="124" y="121"/>
                    </a:moveTo>
                    <a:lnTo>
                      <a:pt x="123" y="121"/>
                    </a:lnTo>
                    <a:lnTo>
                      <a:pt x="123" y="122"/>
                    </a:lnTo>
                    <a:lnTo>
                      <a:pt x="122" y="121"/>
                    </a:lnTo>
                    <a:lnTo>
                      <a:pt x="122" y="120"/>
                    </a:lnTo>
                    <a:lnTo>
                      <a:pt x="123" y="121"/>
                    </a:lnTo>
                    <a:lnTo>
                      <a:pt x="123" y="120"/>
                    </a:lnTo>
                    <a:lnTo>
                      <a:pt x="123" y="120"/>
                    </a:lnTo>
                    <a:lnTo>
                      <a:pt x="124" y="120"/>
                    </a:lnTo>
                    <a:lnTo>
                      <a:pt x="124" y="121"/>
                    </a:lnTo>
                    <a:close/>
                    <a:moveTo>
                      <a:pt x="108" y="125"/>
                    </a:moveTo>
                    <a:lnTo>
                      <a:pt x="106" y="125"/>
                    </a:lnTo>
                    <a:lnTo>
                      <a:pt x="105" y="125"/>
                    </a:lnTo>
                    <a:lnTo>
                      <a:pt x="105" y="125"/>
                    </a:lnTo>
                    <a:lnTo>
                      <a:pt x="106" y="124"/>
                    </a:lnTo>
                    <a:lnTo>
                      <a:pt x="106" y="124"/>
                    </a:lnTo>
                    <a:lnTo>
                      <a:pt x="105" y="122"/>
                    </a:lnTo>
                    <a:lnTo>
                      <a:pt x="106" y="122"/>
                    </a:lnTo>
                    <a:lnTo>
                      <a:pt x="106" y="124"/>
                    </a:lnTo>
                    <a:lnTo>
                      <a:pt x="108" y="125"/>
                    </a:lnTo>
                    <a:close/>
                    <a:moveTo>
                      <a:pt x="149" y="135"/>
                    </a:moveTo>
                    <a:lnTo>
                      <a:pt x="148" y="135"/>
                    </a:lnTo>
                    <a:lnTo>
                      <a:pt x="148" y="135"/>
                    </a:lnTo>
                    <a:lnTo>
                      <a:pt x="148" y="135"/>
                    </a:lnTo>
                    <a:lnTo>
                      <a:pt x="148" y="132"/>
                    </a:lnTo>
                    <a:lnTo>
                      <a:pt x="148" y="131"/>
                    </a:lnTo>
                    <a:lnTo>
                      <a:pt x="148" y="129"/>
                    </a:lnTo>
                    <a:lnTo>
                      <a:pt x="148" y="129"/>
                    </a:lnTo>
                    <a:lnTo>
                      <a:pt x="149" y="128"/>
                    </a:lnTo>
                    <a:lnTo>
                      <a:pt x="151" y="125"/>
                    </a:lnTo>
                    <a:lnTo>
                      <a:pt x="156" y="124"/>
                    </a:lnTo>
                    <a:lnTo>
                      <a:pt x="156" y="124"/>
                    </a:lnTo>
                    <a:lnTo>
                      <a:pt x="156" y="125"/>
                    </a:lnTo>
                    <a:lnTo>
                      <a:pt x="155" y="129"/>
                    </a:lnTo>
                    <a:lnTo>
                      <a:pt x="154" y="131"/>
                    </a:lnTo>
                    <a:lnTo>
                      <a:pt x="155" y="132"/>
                    </a:lnTo>
                    <a:lnTo>
                      <a:pt x="152" y="132"/>
                    </a:lnTo>
                    <a:lnTo>
                      <a:pt x="149" y="135"/>
                    </a:lnTo>
                    <a:close/>
                    <a:moveTo>
                      <a:pt x="63" y="129"/>
                    </a:moveTo>
                    <a:lnTo>
                      <a:pt x="63" y="131"/>
                    </a:lnTo>
                    <a:lnTo>
                      <a:pt x="60" y="129"/>
                    </a:lnTo>
                    <a:lnTo>
                      <a:pt x="60" y="128"/>
                    </a:lnTo>
                    <a:lnTo>
                      <a:pt x="60" y="127"/>
                    </a:lnTo>
                    <a:lnTo>
                      <a:pt x="60" y="125"/>
                    </a:lnTo>
                    <a:lnTo>
                      <a:pt x="62" y="125"/>
                    </a:lnTo>
                    <a:lnTo>
                      <a:pt x="62" y="127"/>
                    </a:lnTo>
                    <a:lnTo>
                      <a:pt x="63" y="128"/>
                    </a:lnTo>
                    <a:lnTo>
                      <a:pt x="63" y="129"/>
                    </a:lnTo>
                    <a:close/>
                    <a:moveTo>
                      <a:pt x="138" y="146"/>
                    </a:moveTo>
                    <a:lnTo>
                      <a:pt x="137" y="146"/>
                    </a:lnTo>
                    <a:lnTo>
                      <a:pt x="137" y="146"/>
                    </a:lnTo>
                    <a:lnTo>
                      <a:pt x="137" y="145"/>
                    </a:lnTo>
                    <a:lnTo>
                      <a:pt x="135" y="142"/>
                    </a:lnTo>
                    <a:lnTo>
                      <a:pt x="137" y="139"/>
                    </a:lnTo>
                    <a:lnTo>
                      <a:pt x="137" y="138"/>
                    </a:lnTo>
                    <a:lnTo>
                      <a:pt x="138" y="138"/>
                    </a:lnTo>
                    <a:lnTo>
                      <a:pt x="138" y="141"/>
                    </a:lnTo>
                    <a:lnTo>
                      <a:pt x="137" y="142"/>
                    </a:lnTo>
                    <a:lnTo>
                      <a:pt x="138" y="143"/>
                    </a:lnTo>
                    <a:lnTo>
                      <a:pt x="138" y="145"/>
                    </a:lnTo>
                    <a:lnTo>
                      <a:pt x="138" y="146"/>
                    </a:lnTo>
                    <a:close/>
                    <a:moveTo>
                      <a:pt x="77" y="143"/>
                    </a:moveTo>
                    <a:lnTo>
                      <a:pt x="78" y="143"/>
                    </a:lnTo>
                    <a:lnTo>
                      <a:pt x="80" y="143"/>
                    </a:lnTo>
                    <a:lnTo>
                      <a:pt x="81" y="143"/>
                    </a:lnTo>
                    <a:lnTo>
                      <a:pt x="81" y="142"/>
                    </a:lnTo>
                    <a:lnTo>
                      <a:pt x="83" y="142"/>
                    </a:lnTo>
                    <a:lnTo>
                      <a:pt x="84" y="143"/>
                    </a:lnTo>
                    <a:lnTo>
                      <a:pt x="83" y="145"/>
                    </a:lnTo>
                    <a:lnTo>
                      <a:pt x="83" y="145"/>
                    </a:lnTo>
                    <a:lnTo>
                      <a:pt x="83" y="145"/>
                    </a:lnTo>
                    <a:lnTo>
                      <a:pt x="84" y="146"/>
                    </a:lnTo>
                    <a:lnTo>
                      <a:pt x="85" y="145"/>
                    </a:lnTo>
                    <a:lnTo>
                      <a:pt x="85" y="146"/>
                    </a:lnTo>
                    <a:lnTo>
                      <a:pt x="85" y="148"/>
                    </a:lnTo>
                    <a:lnTo>
                      <a:pt x="85" y="148"/>
                    </a:lnTo>
                    <a:lnTo>
                      <a:pt x="87" y="148"/>
                    </a:lnTo>
                    <a:lnTo>
                      <a:pt x="88" y="148"/>
                    </a:lnTo>
                    <a:lnTo>
                      <a:pt x="89" y="148"/>
                    </a:lnTo>
                    <a:lnTo>
                      <a:pt x="91" y="146"/>
                    </a:lnTo>
                    <a:lnTo>
                      <a:pt x="94" y="146"/>
                    </a:lnTo>
                    <a:lnTo>
                      <a:pt x="98" y="146"/>
                    </a:lnTo>
                    <a:lnTo>
                      <a:pt x="101" y="148"/>
                    </a:lnTo>
                    <a:lnTo>
                      <a:pt x="103" y="149"/>
                    </a:lnTo>
                    <a:lnTo>
                      <a:pt x="106" y="149"/>
                    </a:lnTo>
                    <a:lnTo>
                      <a:pt x="109" y="149"/>
                    </a:lnTo>
                    <a:lnTo>
                      <a:pt x="112" y="148"/>
                    </a:lnTo>
                    <a:lnTo>
                      <a:pt x="112" y="149"/>
                    </a:lnTo>
                    <a:lnTo>
                      <a:pt x="112" y="152"/>
                    </a:lnTo>
                    <a:lnTo>
                      <a:pt x="112" y="153"/>
                    </a:lnTo>
                    <a:lnTo>
                      <a:pt x="113" y="153"/>
                    </a:lnTo>
                    <a:lnTo>
                      <a:pt x="113" y="153"/>
                    </a:lnTo>
                    <a:lnTo>
                      <a:pt x="115" y="152"/>
                    </a:lnTo>
                    <a:lnTo>
                      <a:pt x="117" y="150"/>
                    </a:lnTo>
                    <a:lnTo>
                      <a:pt x="120" y="150"/>
                    </a:lnTo>
                    <a:lnTo>
                      <a:pt x="122" y="149"/>
                    </a:lnTo>
                    <a:lnTo>
                      <a:pt x="122" y="149"/>
                    </a:lnTo>
                    <a:lnTo>
                      <a:pt x="122" y="150"/>
                    </a:lnTo>
                    <a:lnTo>
                      <a:pt x="122" y="152"/>
                    </a:lnTo>
                    <a:lnTo>
                      <a:pt x="122" y="153"/>
                    </a:lnTo>
                    <a:lnTo>
                      <a:pt x="120" y="154"/>
                    </a:lnTo>
                    <a:lnTo>
                      <a:pt x="119" y="156"/>
                    </a:lnTo>
                    <a:lnTo>
                      <a:pt x="117" y="156"/>
                    </a:lnTo>
                    <a:lnTo>
                      <a:pt x="113" y="154"/>
                    </a:lnTo>
                    <a:lnTo>
                      <a:pt x="109" y="156"/>
                    </a:lnTo>
                    <a:lnTo>
                      <a:pt x="102" y="157"/>
                    </a:lnTo>
                    <a:lnTo>
                      <a:pt x="95" y="157"/>
                    </a:lnTo>
                    <a:lnTo>
                      <a:pt x="94" y="157"/>
                    </a:lnTo>
                    <a:lnTo>
                      <a:pt x="94" y="156"/>
                    </a:lnTo>
                    <a:lnTo>
                      <a:pt x="94" y="154"/>
                    </a:lnTo>
                    <a:lnTo>
                      <a:pt x="92" y="153"/>
                    </a:lnTo>
                    <a:lnTo>
                      <a:pt x="91" y="153"/>
                    </a:lnTo>
                    <a:lnTo>
                      <a:pt x="88" y="152"/>
                    </a:lnTo>
                    <a:lnTo>
                      <a:pt x="80" y="150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0"/>
                    </a:lnTo>
                    <a:lnTo>
                      <a:pt x="73" y="150"/>
                    </a:lnTo>
                    <a:lnTo>
                      <a:pt x="73" y="149"/>
                    </a:lnTo>
                    <a:lnTo>
                      <a:pt x="71" y="146"/>
                    </a:lnTo>
                    <a:lnTo>
                      <a:pt x="73" y="143"/>
                    </a:lnTo>
                    <a:lnTo>
                      <a:pt x="73" y="143"/>
                    </a:lnTo>
                    <a:lnTo>
                      <a:pt x="73" y="143"/>
                    </a:lnTo>
                    <a:lnTo>
                      <a:pt x="74" y="145"/>
                    </a:lnTo>
                    <a:lnTo>
                      <a:pt x="76" y="143"/>
                    </a:lnTo>
                    <a:lnTo>
                      <a:pt x="76" y="142"/>
                    </a:lnTo>
                    <a:lnTo>
                      <a:pt x="76" y="141"/>
                    </a:lnTo>
                    <a:lnTo>
                      <a:pt x="76" y="142"/>
                    </a:lnTo>
                    <a:lnTo>
                      <a:pt x="77" y="143"/>
                    </a:lnTo>
                    <a:lnTo>
                      <a:pt x="77" y="143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61" name="Croatia">
                <a:extLst>
                  <a:ext uri="{FF2B5EF4-FFF2-40B4-BE49-F238E27FC236}">
                    <a16:creationId xmlns:a16="http://schemas.microsoft.com/office/drawing/2014/main" id="{5752DF5F-E596-1528-F564-56E8441A54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18468" y="2782543"/>
                <a:ext cx="82902" cy="81338"/>
              </a:xfrm>
              <a:custGeom>
                <a:avLst/>
                <a:gdLst>
                  <a:gd name="T0" fmla="*/ 63 w 106"/>
                  <a:gd name="T1" fmla="*/ 9 h 104"/>
                  <a:gd name="T2" fmla="*/ 74 w 106"/>
                  <a:gd name="T3" fmla="*/ 16 h 104"/>
                  <a:gd name="T4" fmla="*/ 87 w 106"/>
                  <a:gd name="T5" fmla="*/ 20 h 104"/>
                  <a:gd name="T6" fmla="*/ 94 w 106"/>
                  <a:gd name="T7" fmla="*/ 16 h 104"/>
                  <a:gd name="T8" fmla="*/ 96 w 106"/>
                  <a:gd name="T9" fmla="*/ 18 h 104"/>
                  <a:gd name="T10" fmla="*/ 101 w 106"/>
                  <a:gd name="T11" fmla="*/ 26 h 104"/>
                  <a:gd name="T12" fmla="*/ 105 w 106"/>
                  <a:gd name="T13" fmla="*/ 33 h 104"/>
                  <a:gd name="T14" fmla="*/ 105 w 106"/>
                  <a:gd name="T15" fmla="*/ 36 h 104"/>
                  <a:gd name="T16" fmla="*/ 101 w 106"/>
                  <a:gd name="T17" fmla="*/ 40 h 104"/>
                  <a:gd name="T18" fmla="*/ 99 w 106"/>
                  <a:gd name="T19" fmla="*/ 43 h 104"/>
                  <a:gd name="T20" fmla="*/ 95 w 106"/>
                  <a:gd name="T21" fmla="*/ 39 h 104"/>
                  <a:gd name="T22" fmla="*/ 85 w 106"/>
                  <a:gd name="T23" fmla="*/ 36 h 104"/>
                  <a:gd name="T24" fmla="*/ 76 w 106"/>
                  <a:gd name="T25" fmla="*/ 36 h 104"/>
                  <a:gd name="T26" fmla="*/ 67 w 106"/>
                  <a:gd name="T27" fmla="*/ 36 h 104"/>
                  <a:gd name="T28" fmla="*/ 53 w 106"/>
                  <a:gd name="T29" fmla="*/ 36 h 104"/>
                  <a:gd name="T30" fmla="*/ 43 w 106"/>
                  <a:gd name="T31" fmla="*/ 34 h 104"/>
                  <a:gd name="T32" fmla="*/ 39 w 106"/>
                  <a:gd name="T33" fmla="*/ 46 h 104"/>
                  <a:gd name="T34" fmla="*/ 49 w 106"/>
                  <a:gd name="T35" fmla="*/ 59 h 104"/>
                  <a:gd name="T36" fmla="*/ 57 w 106"/>
                  <a:gd name="T37" fmla="*/ 71 h 104"/>
                  <a:gd name="T38" fmla="*/ 69 w 106"/>
                  <a:gd name="T39" fmla="*/ 83 h 104"/>
                  <a:gd name="T40" fmla="*/ 74 w 106"/>
                  <a:gd name="T41" fmla="*/ 92 h 104"/>
                  <a:gd name="T42" fmla="*/ 52 w 106"/>
                  <a:gd name="T43" fmla="*/ 76 h 104"/>
                  <a:gd name="T44" fmla="*/ 43 w 106"/>
                  <a:gd name="T45" fmla="*/ 75 h 104"/>
                  <a:gd name="T46" fmla="*/ 28 w 106"/>
                  <a:gd name="T47" fmla="*/ 58 h 104"/>
                  <a:gd name="T48" fmla="*/ 34 w 106"/>
                  <a:gd name="T49" fmla="*/ 57 h 104"/>
                  <a:gd name="T50" fmla="*/ 24 w 106"/>
                  <a:gd name="T51" fmla="*/ 37 h 104"/>
                  <a:gd name="T52" fmla="*/ 13 w 106"/>
                  <a:gd name="T53" fmla="*/ 36 h 104"/>
                  <a:gd name="T54" fmla="*/ 3 w 106"/>
                  <a:gd name="T55" fmla="*/ 40 h 104"/>
                  <a:gd name="T56" fmla="*/ 2 w 106"/>
                  <a:gd name="T57" fmla="*/ 27 h 104"/>
                  <a:gd name="T58" fmla="*/ 10 w 106"/>
                  <a:gd name="T59" fmla="*/ 27 h 104"/>
                  <a:gd name="T60" fmla="*/ 18 w 106"/>
                  <a:gd name="T61" fmla="*/ 23 h 104"/>
                  <a:gd name="T62" fmla="*/ 23 w 106"/>
                  <a:gd name="T63" fmla="*/ 27 h 104"/>
                  <a:gd name="T64" fmla="*/ 32 w 106"/>
                  <a:gd name="T65" fmla="*/ 27 h 104"/>
                  <a:gd name="T66" fmla="*/ 32 w 106"/>
                  <a:gd name="T67" fmla="*/ 23 h 104"/>
                  <a:gd name="T68" fmla="*/ 39 w 106"/>
                  <a:gd name="T69" fmla="*/ 16 h 104"/>
                  <a:gd name="T70" fmla="*/ 38 w 106"/>
                  <a:gd name="T71" fmla="*/ 9 h 104"/>
                  <a:gd name="T72" fmla="*/ 46 w 106"/>
                  <a:gd name="T73" fmla="*/ 4 h 104"/>
                  <a:gd name="T74" fmla="*/ 50 w 106"/>
                  <a:gd name="T75" fmla="*/ 1 h 104"/>
                  <a:gd name="T76" fmla="*/ 20 w 106"/>
                  <a:gd name="T77" fmla="*/ 40 h 104"/>
                  <a:gd name="T78" fmla="*/ 18 w 106"/>
                  <a:gd name="T79" fmla="*/ 34 h 104"/>
                  <a:gd name="T80" fmla="*/ 17 w 106"/>
                  <a:gd name="T81" fmla="*/ 50 h 104"/>
                  <a:gd name="T82" fmla="*/ 14 w 106"/>
                  <a:gd name="T83" fmla="*/ 39 h 104"/>
                  <a:gd name="T84" fmla="*/ 17 w 106"/>
                  <a:gd name="T85" fmla="*/ 40 h 104"/>
                  <a:gd name="T86" fmla="*/ 24 w 106"/>
                  <a:gd name="T87" fmla="*/ 47 h 104"/>
                  <a:gd name="T88" fmla="*/ 23 w 106"/>
                  <a:gd name="T89" fmla="*/ 44 h 104"/>
                  <a:gd name="T90" fmla="*/ 27 w 106"/>
                  <a:gd name="T91" fmla="*/ 55 h 104"/>
                  <a:gd name="T92" fmla="*/ 23 w 106"/>
                  <a:gd name="T93" fmla="*/ 48 h 104"/>
                  <a:gd name="T94" fmla="*/ 31 w 106"/>
                  <a:gd name="T95" fmla="*/ 57 h 104"/>
                  <a:gd name="T96" fmla="*/ 30 w 106"/>
                  <a:gd name="T97" fmla="*/ 68 h 104"/>
                  <a:gd name="T98" fmla="*/ 31 w 106"/>
                  <a:gd name="T99" fmla="*/ 65 h 104"/>
                  <a:gd name="T100" fmla="*/ 35 w 106"/>
                  <a:gd name="T101" fmla="*/ 68 h 104"/>
                  <a:gd name="T102" fmla="*/ 56 w 106"/>
                  <a:gd name="T103" fmla="*/ 83 h 104"/>
                  <a:gd name="T104" fmla="*/ 60 w 106"/>
                  <a:gd name="T105" fmla="*/ 82 h 104"/>
                  <a:gd name="T106" fmla="*/ 57 w 106"/>
                  <a:gd name="T107" fmla="*/ 87 h 104"/>
                  <a:gd name="T108" fmla="*/ 57 w 106"/>
                  <a:gd name="T109" fmla="*/ 86 h 104"/>
                  <a:gd name="T110" fmla="*/ 78 w 106"/>
                  <a:gd name="T111" fmla="*/ 94 h 104"/>
                  <a:gd name="T112" fmla="*/ 89 w 106"/>
                  <a:gd name="T113" fmla="*/ 101 h 104"/>
                  <a:gd name="T114" fmla="*/ 78 w 106"/>
                  <a:gd name="T115" fmla="*/ 96 h 104"/>
                  <a:gd name="T116" fmla="*/ 76 w 106"/>
                  <a:gd name="T117" fmla="*/ 94 h 104"/>
                  <a:gd name="T118" fmla="*/ 66 w 106"/>
                  <a:gd name="T119" fmla="*/ 92 h 104"/>
                  <a:gd name="T120" fmla="*/ 57 w 106"/>
                  <a:gd name="T121" fmla="*/ 92 h 104"/>
                  <a:gd name="T122" fmla="*/ 70 w 106"/>
                  <a:gd name="T123" fmla="*/ 96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6" h="104">
                    <a:moveTo>
                      <a:pt x="55" y="1"/>
                    </a:moveTo>
                    <a:lnTo>
                      <a:pt x="55" y="1"/>
                    </a:lnTo>
                    <a:lnTo>
                      <a:pt x="59" y="4"/>
                    </a:lnTo>
                    <a:lnTo>
                      <a:pt x="60" y="5"/>
                    </a:lnTo>
                    <a:lnTo>
                      <a:pt x="62" y="8"/>
                    </a:lnTo>
                    <a:lnTo>
                      <a:pt x="63" y="9"/>
                    </a:lnTo>
                    <a:lnTo>
                      <a:pt x="66" y="11"/>
                    </a:lnTo>
                    <a:lnTo>
                      <a:pt x="67" y="12"/>
                    </a:lnTo>
                    <a:lnTo>
                      <a:pt x="69" y="14"/>
                    </a:lnTo>
                    <a:lnTo>
                      <a:pt x="70" y="15"/>
                    </a:lnTo>
                    <a:lnTo>
                      <a:pt x="73" y="15"/>
                    </a:lnTo>
                    <a:lnTo>
                      <a:pt x="74" y="16"/>
                    </a:lnTo>
                    <a:lnTo>
                      <a:pt x="74" y="18"/>
                    </a:lnTo>
                    <a:lnTo>
                      <a:pt x="76" y="19"/>
                    </a:lnTo>
                    <a:lnTo>
                      <a:pt x="78" y="19"/>
                    </a:lnTo>
                    <a:lnTo>
                      <a:pt x="81" y="20"/>
                    </a:lnTo>
                    <a:lnTo>
                      <a:pt x="85" y="20"/>
                    </a:lnTo>
                    <a:lnTo>
                      <a:pt x="87" y="20"/>
                    </a:lnTo>
                    <a:lnTo>
                      <a:pt x="88" y="20"/>
                    </a:lnTo>
                    <a:lnTo>
                      <a:pt x="89" y="20"/>
                    </a:lnTo>
                    <a:lnTo>
                      <a:pt x="91" y="19"/>
                    </a:lnTo>
                    <a:lnTo>
                      <a:pt x="91" y="19"/>
                    </a:lnTo>
                    <a:lnTo>
                      <a:pt x="94" y="16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98" y="16"/>
                    </a:lnTo>
                    <a:lnTo>
                      <a:pt x="98" y="16"/>
                    </a:lnTo>
                    <a:lnTo>
                      <a:pt x="98" y="16"/>
                    </a:lnTo>
                    <a:lnTo>
                      <a:pt x="98" y="18"/>
                    </a:lnTo>
                    <a:lnTo>
                      <a:pt x="96" y="18"/>
                    </a:lnTo>
                    <a:lnTo>
                      <a:pt x="98" y="20"/>
                    </a:lnTo>
                    <a:lnTo>
                      <a:pt x="98" y="23"/>
                    </a:lnTo>
                    <a:lnTo>
                      <a:pt x="98" y="25"/>
                    </a:lnTo>
                    <a:lnTo>
                      <a:pt x="98" y="26"/>
                    </a:lnTo>
                    <a:lnTo>
                      <a:pt x="101" y="26"/>
                    </a:lnTo>
                    <a:lnTo>
                      <a:pt x="101" y="26"/>
                    </a:lnTo>
                    <a:lnTo>
                      <a:pt x="99" y="27"/>
                    </a:lnTo>
                    <a:lnTo>
                      <a:pt x="99" y="27"/>
                    </a:lnTo>
                    <a:lnTo>
                      <a:pt x="99" y="30"/>
                    </a:lnTo>
                    <a:lnTo>
                      <a:pt x="101" y="32"/>
                    </a:lnTo>
                    <a:lnTo>
                      <a:pt x="105" y="33"/>
                    </a:lnTo>
                    <a:lnTo>
                      <a:pt x="105" y="33"/>
                    </a:lnTo>
                    <a:lnTo>
                      <a:pt x="106" y="33"/>
                    </a:lnTo>
                    <a:lnTo>
                      <a:pt x="106" y="34"/>
                    </a:lnTo>
                    <a:lnTo>
                      <a:pt x="106" y="34"/>
                    </a:lnTo>
                    <a:lnTo>
                      <a:pt x="106" y="34"/>
                    </a:lnTo>
                    <a:lnTo>
                      <a:pt x="106" y="36"/>
                    </a:lnTo>
                    <a:lnTo>
                      <a:pt x="105" y="36"/>
                    </a:lnTo>
                    <a:lnTo>
                      <a:pt x="103" y="36"/>
                    </a:lnTo>
                    <a:lnTo>
                      <a:pt x="102" y="34"/>
                    </a:lnTo>
                    <a:lnTo>
                      <a:pt x="102" y="36"/>
                    </a:lnTo>
                    <a:lnTo>
                      <a:pt x="102" y="36"/>
                    </a:lnTo>
                    <a:lnTo>
                      <a:pt x="101" y="36"/>
                    </a:lnTo>
                    <a:lnTo>
                      <a:pt x="101" y="40"/>
                    </a:lnTo>
                    <a:lnTo>
                      <a:pt x="101" y="41"/>
                    </a:lnTo>
                    <a:lnTo>
                      <a:pt x="101" y="43"/>
                    </a:lnTo>
                    <a:lnTo>
                      <a:pt x="101" y="41"/>
                    </a:lnTo>
                    <a:lnTo>
                      <a:pt x="99" y="41"/>
                    </a:lnTo>
                    <a:lnTo>
                      <a:pt x="99" y="43"/>
                    </a:lnTo>
                    <a:lnTo>
                      <a:pt x="99" y="43"/>
                    </a:lnTo>
                    <a:lnTo>
                      <a:pt x="98" y="43"/>
                    </a:lnTo>
                    <a:lnTo>
                      <a:pt x="96" y="43"/>
                    </a:lnTo>
                    <a:lnTo>
                      <a:pt x="95" y="41"/>
                    </a:lnTo>
                    <a:lnTo>
                      <a:pt x="95" y="41"/>
                    </a:lnTo>
                    <a:lnTo>
                      <a:pt x="95" y="40"/>
                    </a:lnTo>
                    <a:lnTo>
                      <a:pt x="95" y="39"/>
                    </a:lnTo>
                    <a:lnTo>
                      <a:pt x="94" y="37"/>
                    </a:lnTo>
                    <a:lnTo>
                      <a:pt x="89" y="37"/>
                    </a:lnTo>
                    <a:lnTo>
                      <a:pt x="89" y="37"/>
                    </a:lnTo>
                    <a:lnTo>
                      <a:pt x="88" y="37"/>
                    </a:lnTo>
                    <a:lnTo>
                      <a:pt x="87" y="36"/>
                    </a:lnTo>
                    <a:lnTo>
                      <a:pt x="85" y="36"/>
                    </a:lnTo>
                    <a:lnTo>
                      <a:pt x="84" y="37"/>
                    </a:lnTo>
                    <a:lnTo>
                      <a:pt x="81" y="36"/>
                    </a:lnTo>
                    <a:lnTo>
                      <a:pt x="80" y="37"/>
                    </a:lnTo>
                    <a:lnTo>
                      <a:pt x="78" y="37"/>
                    </a:lnTo>
                    <a:lnTo>
                      <a:pt x="78" y="37"/>
                    </a:lnTo>
                    <a:lnTo>
                      <a:pt x="76" y="36"/>
                    </a:lnTo>
                    <a:lnTo>
                      <a:pt x="74" y="36"/>
                    </a:lnTo>
                    <a:lnTo>
                      <a:pt x="73" y="37"/>
                    </a:lnTo>
                    <a:lnTo>
                      <a:pt x="73" y="37"/>
                    </a:lnTo>
                    <a:lnTo>
                      <a:pt x="71" y="36"/>
                    </a:lnTo>
                    <a:lnTo>
                      <a:pt x="69" y="36"/>
                    </a:lnTo>
                    <a:lnTo>
                      <a:pt x="67" y="36"/>
                    </a:lnTo>
                    <a:lnTo>
                      <a:pt x="67" y="36"/>
                    </a:lnTo>
                    <a:lnTo>
                      <a:pt x="66" y="36"/>
                    </a:lnTo>
                    <a:lnTo>
                      <a:pt x="62" y="33"/>
                    </a:lnTo>
                    <a:lnTo>
                      <a:pt x="59" y="34"/>
                    </a:lnTo>
                    <a:lnTo>
                      <a:pt x="55" y="34"/>
                    </a:lnTo>
                    <a:lnTo>
                      <a:pt x="53" y="36"/>
                    </a:lnTo>
                    <a:lnTo>
                      <a:pt x="52" y="39"/>
                    </a:lnTo>
                    <a:lnTo>
                      <a:pt x="50" y="40"/>
                    </a:lnTo>
                    <a:lnTo>
                      <a:pt x="49" y="39"/>
                    </a:lnTo>
                    <a:lnTo>
                      <a:pt x="48" y="39"/>
                    </a:lnTo>
                    <a:lnTo>
                      <a:pt x="45" y="34"/>
                    </a:lnTo>
                    <a:lnTo>
                      <a:pt x="43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1" y="36"/>
                    </a:lnTo>
                    <a:lnTo>
                      <a:pt x="41" y="40"/>
                    </a:lnTo>
                    <a:lnTo>
                      <a:pt x="41" y="44"/>
                    </a:lnTo>
                    <a:lnTo>
                      <a:pt x="39" y="46"/>
                    </a:lnTo>
                    <a:lnTo>
                      <a:pt x="42" y="48"/>
                    </a:lnTo>
                    <a:lnTo>
                      <a:pt x="46" y="51"/>
                    </a:lnTo>
                    <a:lnTo>
                      <a:pt x="46" y="53"/>
                    </a:lnTo>
                    <a:lnTo>
                      <a:pt x="48" y="54"/>
                    </a:lnTo>
                    <a:lnTo>
                      <a:pt x="48" y="57"/>
                    </a:lnTo>
                    <a:lnTo>
                      <a:pt x="49" y="59"/>
                    </a:lnTo>
                    <a:lnTo>
                      <a:pt x="50" y="62"/>
                    </a:lnTo>
                    <a:lnTo>
                      <a:pt x="52" y="64"/>
                    </a:lnTo>
                    <a:lnTo>
                      <a:pt x="53" y="65"/>
                    </a:lnTo>
                    <a:lnTo>
                      <a:pt x="56" y="68"/>
                    </a:lnTo>
                    <a:lnTo>
                      <a:pt x="57" y="69"/>
                    </a:lnTo>
                    <a:lnTo>
                      <a:pt x="57" y="71"/>
                    </a:lnTo>
                    <a:lnTo>
                      <a:pt x="62" y="73"/>
                    </a:lnTo>
                    <a:lnTo>
                      <a:pt x="64" y="78"/>
                    </a:lnTo>
                    <a:lnTo>
                      <a:pt x="67" y="79"/>
                    </a:lnTo>
                    <a:lnTo>
                      <a:pt x="69" y="79"/>
                    </a:lnTo>
                    <a:lnTo>
                      <a:pt x="69" y="82"/>
                    </a:lnTo>
                    <a:lnTo>
                      <a:pt x="69" y="83"/>
                    </a:lnTo>
                    <a:lnTo>
                      <a:pt x="70" y="85"/>
                    </a:lnTo>
                    <a:lnTo>
                      <a:pt x="74" y="89"/>
                    </a:lnTo>
                    <a:lnTo>
                      <a:pt x="74" y="90"/>
                    </a:lnTo>
                    <a:lnTo>
                      <a:pt x="76" y="90"/>
                    </a:lnTo>
                    <a:lnTo>
                      <a:pt x="74" y="92"/>
                    </a:lnTo>
                    <a:lnTo>
                      <a:pt x="74" y="92"/>
                    </a:lnTo>
                    <a:lnTo>
                      <a:pt x="73" y="92"/>
                    </a:lnTo>
                    <a:lnTo>
                      <a:pt x="69" y="87"/>
                    </a:lnTo>
                    <a:lnTo>
                      <a:pt x="66" y="85"/>
                    </a:lnTo>
                    <a:lnTo>
                      <a:pt x="62" y="80"/>
                    </a:lnTo>
                    <a:lnTo>
                      <a:pt x="56" y="79"/>
                    </a:lnTo>
                    <a:lnTo>
                      <a:pt x="52" y="76"/>
                    </a:lnTo>
                    <a:lnTo>
                      <a:pt x="49" y="78"/>
                    </a:lnTo>
                    <a:lnTo>
                      <a:pt x="48" y="78"/>
                    </a:lnTo>
                    <a:lnTo>
                      <a:pt x="46" y="78"/>
                    </a:lnTo>
                    <a:lnTo>
                      <a:pt x="45" y="78"/>
                    </a:lnTo>
                    <a:lnTo>
                      <a:pt x="43" y="76"/>
                    </a:lnTo>
                    <a:lnTo>
                      <a:pt x="43" y="75"/>
                    </a:lnTo>
                    <a:lnTo>
                      <a:pt x="43" y="73"/>
                    </a:lnTo>
                    <a:lnTo>
                      <a:pt x="42" y="72"/>
                    </a:lnTo>
                    <a:lnTo>
                      <a:pt x="38" y="71"/>
                    </a:lnTo>
                    <a:lnTo>
                      <a:pt x="35" y="68"/>
                    </a:lnTo>
                    <a:lnTo>
                      <a:pt x="30" y="61"/>
                    </a:lnTo>
                    <a:lnTo>
                      <a:pt x="28" y="58"/>
                    </a:lnTo>
                    <a:lnTo>
                      <a:pt x="30" y="58"/>
                    </a:lnTo>
                    <a:lnTo>
                      <a:pt x="31" y="58"/>
                    </a:lnTo>
                    <a:lnTo>
                      <a:pt x="32" y="58"/>
                    </a:lnTo>
                    <a:lnTo>
                      <a:pt x="34" y="58"/>
                    </a:lnTo>
                    <a:lnTo>
                      <a:pt x="35" y="58"/>
                    </a:lnTo>
                    <a:lnTo>
                      <a:pt x="34" y="57"/>
                    </a:lnTo>
                    <a:lnTo>
                      <a:pt x="31" y="55"/>
                    </a:lnTo>
                    <a:lnTo>
                      <a:pt x="27" y="50"/>
                    </a:lnTo>
                    <a:lnTo>
                      <a:pt x="25" y="47"/>
                    </a:lnTo>
                    <a:lnTo>
                      <a:pt x="24" y="44"/>
                    </a:lnTo>
                    <a:lnTo>
                      <a:pt x="25" y="40"/>
                    </a:lnTo>
                    <a:lnTo>
                      <a:pt x="24" y="37"/>
                    </a:lnTo>
                    <a:lnTo>
                      <a:pt x="20" y="34"/>
                    </a:lnTo>
                    <a:lnTo>
                      <a:pt x="18" y="32"/>
                    </a:lnTo>
                    <a:lnTo>
                      <a:pt x="16" y="32"/>
                    </a:lnTo>
                    <a:lnTo>
                      <a:pt x="14" y="32"/>
                    </a:lnTo>
                    <a:lnTo>
                      <a:pt x="13" y="33"/>
                    </a:lnTo>
                    <a:lnTo>
                      <a:pt x="13" y="36"/>
                    </a:lnTo>
                    <a:lnTo>
                      <a:pt x="10" y="40"/>
                    </a:lnTo>
                    <a:lnTo>
                      <a:pt x="9" y="41"/>
                    </a:lnTo>
                    <a:lnTo>
                      <a:pt x="7" y="44"/>
                    </a:lnTo>
                    <a:lnTo>
                      <a:pt x="7" y="44"/>
                    </a:lnTo>
                    <a:lnTo>
                      <a:pt x="6" y="44"/>
                    </a:lnTo>
                    <a:lnTo>
                      <a:pt x="3" y="40"/>
                    </a:lnTo>
                    <a:lnTo>
                      <a:pt x="2" y="37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2" y="27"/>
                    </a:lnTo>
                    <a:lnTo>
                      <a:pt x="6" y="29"/>
                    </a:lnTo>
                    <a:lnTo>
                      <a:pt x="7" y="29"/>
                    </a:lnTo>
                    <a:lnTo>
                      <a:pt x="7" y="27"/>
                    </a:lnTo>
                    <a:lnTo>
                      <a:pt x="7" y="27"/>
                    </a:lnTo>
                    <a:lnTo>
                      <a:pt x="9" y="26"/>
                    </a:lnTo>
                    <a:lnTo>
                      <a:pt x="10" y="27"/>
                    </a:lnTo>
                    <a:lnTo>
                      <a:pt x="11" y="27"/>
                    </a:lnTo>
                    <a:lnTo>
                      <a:pt x="14" y="27"/>
                    </a:lnTo>
                    <a:lnTo>
                      <a:pt x="16" y="27"/>
                    </a:lnTo>
                    <a:lnTo>
                      <a:pt x="16" y="27"/>
                    </a:lnTo>
                    <a:lnTo>
                      <a:pt x="17" y="25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0" y="23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1" y="27"/>
                    </a:lnTo>
                    <a:lnTo>
                      <a:pt x="23" y="27"/>
                    </a:lnTo>
                    <a:lnTo>
                      <a:pt x="24" y="27"/>
                    </a:lnTo>
                    <a:lnTo>
                      <a:pt x="25" y="27"/>
                    </a:lnTo>
                    <a:lnTo>
                      <a:pt x="25" y="27"/>
                    </a:lnTo>
                    <a:lnTo>
                      <a:pt x="28" y="29"/>
                    </a:lnTo>
                    <a:lnTo>
                      <a:pt x="31" y="29"/>
                    </a:lnTo>
                    <a:lnTo>
                      <a:pt x="32" y="27"/>
                    </a:lnTo>
                    <a:lnTo>
                      <a:pt x="32" y="27"/>
                    </a:lnTo>
                    <a:lnTo>
                      <a:pt x="32" y="26"/>
                    </a:lnTo>
                    <a:lnTo>
                      <a:pt x="32" y="25"/>
                    </a:lnTo>
                    <a:lnTo>
                      <a:pt x="32" y="25"/>
                    </a:lnTo>
                    <a:lnTo>
                      <a:pt x="34" y="23"/>
                    </a:lnTo>
                    <a:lnTo>
                      <a:pt x="32" y="23"/>
                    </a:lnTo>
                    <a:lnTo>
                      <a:pt x="31" y="22"/>
                    </a:lnTo>
                    <a:lnTo>
                      <a:pt x="31" y="20"/>
                    </a:lnTo>
                    <a:lnTo>
                      <a:pt x="35" y="19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9" y="16"/>
                    </a:lnTo>
                    <a:lnTo>
                      <a:pt x="39" y="15"/>
                    </a:lnTo>
                    <a:lnTo>
                      <a:pt x="39" y="12"/>
                    </a:lnTo>
                    <a:lnTo>
                      <a:pt x="38" y="11"/>
                    </a:lnTo>
                    <a:lnTo>
                      <a:pt x="38" y="11"/>
                    </a:lnTo>
                    <a:lnTo>
                      <a:pt x="38" y="9"/>
                    </a:lnTo>
                    <a:lnTo>
                      <a:pt x="38" y="9"/>
                    </a:lnTo>
                    <a:lnTo>
                      <a:pt x="39" y="8"/>
                    </a:lnTo>
                    <a:lnTo>
                      <a:pt x="41" y="8"/>
                    </a:lnTo>
                    <a:lnTo>
                      <a:pt x="42" y="8"/>
                    </a:lnTo>
                    <a:lnTo>
                      <a:pt x="43" y="7"/>
                    </a:lnTo>
                    <a:lnTo>
                      <a:pt x="45" y="7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9" y="4"/>
                    </a:lnTo>
                    <a:lnTo>
                      <a:pt x="49" y="4"/>
                    </a:lnTo>
                    <a:lnTo>
                      <a:pt x="49" y="1"/>
                    </a:lnTo>
                    <a:lnTo>
                      <a:pt x="49" y="1"/>
                    </a:lnTo>
                    <a:lnTo>
                      <a:pt x="50" y="1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5" y="1"/>
                    </a:lnTo>
                    <a:close/>
                    <a:moveTo>
                      <a:pt x="23" y="40"/>
                    </a:moveTo>
                    <a:lnTo>
                      <a:pt x="21" y="41"/>
                    </a:lnTo>
                    <a:lnTo>
                      <a:pt x="20" y="40"/>
                    </a:lnTo>
                    <a:lnTo>
                      <a:pt x="20" y="39"/>
                    </a:lnTo>
                    <a:lnTo>
                      <a:pt x="18" y="39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20" y="36"/>
                    </a:lnTo>
                    <a:lnTo>
                      <a:pt x="21" y="37"/>
                    </a:lnTo>
                    <a:lnTo>
                      <a:pt x="23" y="39"/>
                    </a:lnTo>
                    <a:lnTo>
                      <a:pt x="23" y="40"/>
                    </a:lnTo>
                    <a:close/>
                    <a:moveTo>
                      <a:pt x="17" y="48"/>
                    </a:moveTo>
                    <a:lnTo>
                      <a:pt x="17" y="50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14" y="43"/>
                    </a:lnTo>
                    <a:lnTo>
                      <a:pt x="14" y="41"/>
                    </a:lnTo>
                    <a:lnTo>
                      <a:pt x="14" y="40"/>
                    </a:lnTo>
                    <a:lnTo>
                      <a:pt x="14" y="39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6" y="36"/>
                    </a:lnTo>
                    <a:lnTo>
                      <a:pt x="16" y="37"/>
                    </a:lnTo>
                    <a:lnTo>
                      <a:pt x="16" y="39"/>
                    </a:lnTo>
                    <a:lnTo>
                      <a:pt x="17" y="40"/>
                    </a:lnTo>
                    <a:lnTo>
                      <a:pt x="17" y="43"/>
                    </a:lnTo>
                    <a:lnTo>
                      <a:pt x="17" y="47"/>
                    </a:lnTo>
                    <a:lnTo>
                      <a:pt x="17" y="47"/>
                    </a:lnTo>
                    <a:lnTo>
                      <a:pt x="17" y="48"/>
                    </a:lnTo>
                    <a:close/>
                    <a:moveTo>
                      <a:pt x="24" y="46"/>
                    </a:moveTo>
                    <a:lnTo>
                      <a:pt x="24" y="47"/>
                    </a:lnTo>
                    <a:lnTo>
                      <a:pt x="23" y="46"/>
                    </a:lnTo>
                    <a:lnTo>
                      <a:pt x="21" y="46"/>
                    </a:lnTo>
                    <a:lnTo>
                      <a:pt x="20" y="46"/>
                    </a:lnTo>
                    <a:lnTo>
                      <a:pt x="21" y="44"/>
                    </a:lnTo>
                    <a:lnTo>
                      <a:pt x="21" y="44"/>
                    </a:lnTo>
                    <a:lnTo>
                      <a:pt x="23" y="44"/>
                    </a:lnTo>
                    <a:lnTo>
                      <a:pt x="23" y="44"/>
                    </a:lnTo>
                    <a:lnTo>
                      <a:pt x="24" y="46"/>
                    </a:lnTo>
                    <a:close/>
                    <a:moveTo>
                      <a:pt x="30" y="57"/>
                    </a:moveTo>
                    <a:lnTo>
                      <a:pt x="30" y="57"/>
                    </a:lnTo>
                    <a:lnTo>
                      <a:pt x="28" y="57"/>
                    </a:lnTo>
                    <a:lnTo>
                      <a:pt x="27" y="55"/>
                    </a:lnTo>
                    <a:lnTo>
                      <a:pt x="27" y="54"/>
                    </a:lnTo>
                    <a:lnTo>
                      <a:pt x="25" y="53"/>
                    </a:lnTo>
                    <a:lnTo>
                      <a:pt x="24" y="51"/>
                    </a:lnTo>
                    <a:lnTo>
                      <a:pt x="23" y="48"/>
                    </a:lnTo>
                    <a:lnTo>
                      <a:pt x="23" y="47"/>
                    </a:lnTo>
                    <a:lnTo>
                      <a:pt x="23" y="48"/>
                    </a:lnTo>
                    <a:lnTo>
                      <a:pt x="24" y="50"/>
                    </a:lnTo>
                    <a:lnTo>
                      <a:pt x="25" y="50"/>
                    </a:lnTo>
                    <a:lnTo>
                      <a:pt x="27" y="51"/>
                    </a:lnTo>
                    <a:lnTo>
                      <a:pt x="28" y="54"/>
                    </a:lnTo>
                    <a:lnTo>
                      <a:pt x="31" y="57"/>
                    </a:lnTo>
                    <a:lnTo>
                      <a:pt x="31" y="57"/>
                    </a:lnTo>
                    <a:lnTo>
                      <a:pt x="30" y="57"/>
                    </a:lnTo>
                    <a:close/>
                    <a:moveTo>
                      <a:pt x="30" y="66"/>
                    </a:moveTo>
                    <a:lnTo>
                      <a:pt x="31" y="68"/>
                    </a:lnTo>
                    <a:lnTo>
                      <a:pt x="31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24" y="62"/>
                    </a:lnTo>
                    <a:lnTo>
                      <a:pt x="24" y="61"/>
                    </a:lnTo>
                    <a:lnTo>
                      <a:pt x="25" y="62"/>
                    </a:lnTo>
                    <a:lnTo>
                      <a:pt x="30" y="66"/>
                    </a:lnTo>
                    <a:close/>
                    <a:moveTo>
                      <a:pt x="31" y="64"/>
                    </a:moveTo>
                    <a:lnTo>
                      <a:pt x="31" y="65"/>
                    </a:lnTo>
                    <a:lnTo>
                      <a:pt x="30" y="62"/>
                    </a:lnTo>
                    <a:lnTo>
                      <a:pt x="28" y="62"/>
                    </a:lnTo>
                    <a:lnTo>
                      <a:pt x="28" y="61"/>
                    </a:lnTo>
                    <a:lnTo>
                      <a:pt x="31" y="64"/>
                    </a:lnTo>
                    <a:close/>
                    <a:moveTo>
                      <a:pt x="34" y="66"/>
                    </a:moveTo>
                    <a:lnTo>
                      <a:pt x="35" y="68"/>
                    </a:lnTo>
                    <a:lnTo>
                      <a:pt x="34" y="68"/>
                    </a:lnTo>
                    <a:lnTo>
                      <a:pt x="32" y="66"/>
                    </a:lnTo>
                    <a:lnTo>
                      <a:pt x="31" y="65"/>
                    </a:lnTo>
                    <a:lnTo>
                      <a:pt x="34" y="66"/>
                    </a:lnTo>
                    <a:close/>
                    <a:moveTo>
                      <a:pt x="59" y="83"/>
                    </a:moveTo>
                    <a:lnTo>
                      <a:pt x="56" y="83"/>
                    </a:lnTo>
                    <a:lnTo>
                      <a:pt x="53" y="83"/>
                    </a:lnTo>
                    <a:lnTo>
                      <a:pt x="52" y="82"/>
                    </a:lnTo>
                    <a:lnTo>
                      <a:pt x="53" y="82"/>
                    </a:lnTo>
                    <a:lnTo>
                      <a:pt x="53" y="80"/>
                    </a:lnTo>
                    <a:lnTo>
                      <a:pt x="56" y="80"/>
                    </a:lnTo>
                    <a:lnTo>
                      <a:pt x="60" y="82"/>
                    </a:lnTo>
                    <a:lnTo>
                      <a:pt x="62" y="82"/>
                    </a:lnTo>
                    <a:lnTo>
                      <a:pt x="60" y="83"/>
                    </a:lnTo>
                    <a:lnTo>
                      <a:pt x="59" y="83"/>
                    </a:lnTo>
                    <a:close/>
                    <a:moveTo>
                      <a:pt x="67" y="87"/>
                    </a:moveTo>
                    <a:lnTo>
                      <a:pt x="66" y="87"/>
                    </a:lnTo>
                    <a:lnTo>
                      <a:pt x="57" y="87"/>
                    </a:lnTo>
                    <a:lnTo>
                      <a:pt x="55" y="86"/>
                    </a:lnTo>
                    <a:lnTo>
                      <a:pt x="52" y="85"/>
                    </a:lnTo>
                    <a:lnTo>
                      <a:pt x="52" y="85"/>
                    </a:lnTo>
                    <a:lnTo>
                      <a:pt x="55" y="85"/>
                    </a:lnTo>
                    <a:lnTo>
                      <a:pt x="57" y="85"/>
                    </a:lnTo>
                    <a:lnTo>
                      <a:pt x="57" y="86"/>
                    </a:lnTo>
                    <a:lnTo>
                      <a:pt x="64" y="86"/>
                    </a:lnTo>
                    <a:lnTo>
                      <a:pt x="67" y="87"/>
                    </a:lnTo>
                    <a:close/>
                    <a:moveTo>
                      <a:pt x="76" y="93"/>
                    </a:moveTo>
                    <a:lnTo>
                      <a:pt x="77" y="92"/>
                    </a:lnTo>
                    <a:lnTo>
                      <a:pt x="77" y="93"/>
                    </a:lnTo>
                    <a:lnTo>
                      <a:pt x="78" y="94"/>
                    </a:lnTo>
                    <a:lnTo>
                      <a:pt x="80" y="94"/>
                    </a:lnTo>
                    <a:lnTo>
                      <a:pt x="82" y="97"/>
                    </a:lnTo>
                    <a:lnTo>
                      <a:pt x="84" y="97"/>
                    </a:lnTo>
                    <a:lnTo>
                      <a:pt x="87" y="100"/>
                    </a:lnTo>
                    <a:lnTo>
                      <a:pt x="88" y="100"/>
                    </a:lnTo>
                    <a:lnTo>
                      <a:pt x="89" y="101"/>
                    </a:lnTo>
                    <a:lnTo>
                      <a:pt x="89" y="101"/>
                    </a:lnTo>
                    <a:lnTo>
                      <a:pt x="89" y="103"/>
                    </a:lnTo>
                    <a:lnTo>
                      <a:pt x="91" y="104"/>
                    </a:lnTo>
                    <a:lnTo>
                      <a:pt x="87" y="101"/>
                    </a:lnTo>
                    <a:lnTo>
                      <a:pt x="84" y="99"/>
                    </a:lnTo>
                    <a:lnTo>
                      <a:pt x="78" y="96"/>
                    </a:lnTo>
                    <a:lnTo>
                      <a:pt x="74" y="94"/>
                    </a:lnTo>
                    <a:lnTo>
                      <a:pt x="67" y="92"/>
                    </a:lnTo>
                    <a:lnTo>
                      <a:pt x="64" y="90"/>
                    </a:lnTo>
                    <a:lnTo>
                      <a:pt x="66" y="90"/>
                    </a:lnTo>
                    <a:lnTo>
                      <a:pt x="67" y="90"/>
                    </a:lnTo>
                    <a:lnTo>
                      <a:pt x="76" y="94"/>
                    </a:lnTo>
                    <a:lnTo>
                      <a:pt x="76" y="93"/>
                    </a:lnTo>
                    <a:close/>
                    <a:moveTo>
                      <a:pt x="56" y="90"/>
                    </a:moveTo>
                    <a:lnTo>
                      <a:pt x="60" y="92"/>
                    </a:lnTo>
                    <a:lnTo>
                      <a:pt x="63" y="90"/>
                    </a:lnTo>
                    <a:lnTo>
                      <a:pt x="64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4" y="93"/>
                    </a:lnTo>
                    <a:lnTo>
                      <a:pt x="63" y="92"/>
                    </a:lnTo>
                    <a:lnTo>
                      <a:pt x="60" y="93"/>
                    </a:lnTo>
                    <a:lnTo>
                      <a:pt x="59" y="93"/>
                    </a:lnTo>
                    <a:lnTo>
                      <a:pt x="57" y="92"/>
                    </a:lnTo>
                    <a:lnTo>
                      <a:pt x="57" y="92"/>
                    </a:lnTo>
                    <a:lnTo>
                      <a:pt x="56" y="90"/>
                    </a:lnTo>
                    <a:close/>
                    <a:moveTo>
                      <a:pt x="74" y="96"/>
                    </a:moveTo>
                    <a:lnTo>
                      <a:pt x="77" y="97"/>
                    </a:lnTo>
                    <a:lnTo>
                      <a:pt x="69" y="96"/>
                    </a:lnTo>
                    <a:lnTo>
                      <a:pt x="70" y="96"/>
                    </a:lnTo>
                    <a:lnTo>
                      <a:pt x="71" y="96"/>
                    </a:lnTo>
                    <a:lnTo>
                      <a:pt x="74" y="96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62" name="Hungary">
                <a:extLst>
                  <a:ext uri="{FF2B5EF4-FFF2-40B4-BE49-F238E27FC236}">
                    <a16:creationId xmlns:a16="http://schemas.microsoft.com/office/drawing/2014/main" id="{95A80D01-2867-F6F0-D00B-735B4F2EB9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445" y="2739528"/>
                <a:ext cx="96980" cy="58657"/>
              </a:xfrm>
              <a:custGeom>
                <a:avLst/>
                <a:gdLst>
                  <a:gd name="T0" fmla="*/ 112 w 124"/>
                  <a:gd name="T1" fmla="*/ 4 h 75"/>
                  <a:gd name="T2" fmla="*/ 113 w 124"/>
                  <a:gd name="T3" fmla="*/ 9 h 75"/>
                  <a:gd name="T4" fmla="*/ 119 w 124"/>
                  <a:gd name="T5" fmla="*/ 13 h 75"/>
                  <a:gd name="T6" fmla="*/ 121 w 124"/>
                  <a:gd name="T7" fmla="*/ 13 h 75"/>
                  <a:gd name="T8" fmla="*/ 123 w 124"/>
                  <a:gd name="T9" fmla="*/ 16 h 75"/>
                  <a:gd name="T10" fmla="*/ 120 w 124"/>
                  <a:gd name="T11" fmla="*/ 21 h 75"/>
                  <a:gd name="T12" fmla="*/ 116 w 124"/>
                  <a:gd name="T13" fmla="*/ 23 h 75"/>
                  <a:gd name="T14" fmla="*/ 112 w 124"/>
                  <a:gd name="T15" fmla="*/ 25 h 75"/>
                  <a:gd name="T16" fmla="*/ 108 w 124"/>
                  <a:gd name="T17" fmla="*/ 32 h 75"/>
                  <a:gd name="T18" fmla="*/ 103 w 124"/>
                  <a:gd name="T19" fmla="*/ 39 h 75"/>
                  <a:gd name="T20" fmla="*/ 102 w 124"/>
                  <a:gd name="T21" fmla="*/ 43 h 75"/>
                  <a:gd name="T22" fmla="*/ 99 w 124"/>
                  <a:gd name="T23" fmla="*/ 50 h 75"/>
                  <a:gd name="T24" fmla="*/ 95 w 124"/>
                  <a:gd name="T25" fmla="*/ 55 h 75"/>
                  <a:gd name="T26" fmla="*/ 94 w 124"/>
                  <a:gd name="T27" fmla="*/ 59 h 75"/>
                  <a:gd name="T28" fmla="*/ 91 w 124"/>
                  <a:gd name="T29" fmla="*/ 63 h 75"/>
                  <a:gd name="T30" fmla="*/ 85 w 124"/>
                  <a:gd name="T31" fmla="*/ 64 h 75"/>
                  <a:gd name="T32" fmla="*/ 81 w 124"/>
                  <a:gd name="T33" fmla="*/ 64 h 75"/>
                  <a:gd name="T34" fmla="*/ 74 w 124"/>
                  <a:gd name="T35" fmla="*/ 66 h 75"/>
                  <a:gd name="T36" fmla="*/ 64 w 124"/>
                  <a:gd name="T37" fmla="*/ 64 h 75"/>
                  <a:gd name="T38" fmla="*/ 60 w 124"/>
                  <a:gd name="T39" fmla="*/ 67 h 75"/>
                  <a:gd name="T40" fmla="*/ 56 w 124"/>
                  <a:gd name="T41" fmla="*/ 70 h 75"/>
                  <a:gd name="T42" fmla="*/ 53 w 124"/>
                  <a:gd name="T43" fmla="*/ 70 h 75"/>
                  <a:gd name="T44" fmla="*/ 50 w 124"/>
                  <a:gd name="T45" fmla="*/ 71 h 75"/>
                  <a:gd name="T46" fmla="*/ 45 w 124"/>
                  <a:gd name="T47" fmla="*/ 74 h 75"/>
                  <a:gd name="T48" fmla="*/ 39 w 124"/>
                  <a:gd name="T49" fmla="*/ 75 h 75"/>
                  <a:gd name="T50" fmla="*/ 28 w 124"/>
                  <a:gd name="T51" fmla="*/ 73 h 75"/>
                  <a:gd name="T52" fmla="*/ 23 w 124"/>
                  <a:gd name="T53" fmla="*/ 69 h 75"/>
                  <a:gd name="T54" fmla="*/ 16 w 124"/>
                  <a:gd name="T55" fmla="*/ 63 h 75"/>
                  <a:gd name="T56" fmla="*/ 9 w 124"/>
                  <a:gd name="T57" fmla="*/ 56 h 75"/>
                  <a:gd name="T58" fmla="*/ 6 w 124"/>
                  <a:gd name="T59" fmla="*/ 52 h 75"/>
                  <a:gd name="T60" fmla="*/ 4 w 124"/>
                  <a:gd name="T61" fmla="*/ 48 h 75"/>
                  <a:gd name="T62" fmla="*/ 4 w 124"/>
                  <a:gd name="T63" fmla="*/ 42 h 75"/>
                  <a:gd name="T64" fmla="*/ 7 w 124"/>
                  <a:gd name="T65" fmla="*/ 41 h 75"/>
                  <a:gd name="T66" fmla="*/ 7 w 124"/>
                  <a:gd name="T67" fmla="*/ 39 h 75"/>
                  <a:gd name="T68" fmla="*/ 7 w 124"/>
                  <a:gd name="T69" fmla="*/ 32 h 75"/>
                  <a:gd name="T70" fmla="*/ 10 w 124"/>
                  <a:gd name="T71" fmla="*/ 31 h 75"/>
                  <a:gd name="T72" fmla="*/ 7 w 124"/>
                  <a:gd name="T73" fmla="*/ 25 h 75"/>
                  <a:gd name="T74" fmla="*/ 9 w 124"/>
                  <a:gd name="T75" fmla="*/ 23 h 75"/>
                  <a:gd name="T76" fmla="*/ 13 w 124"/>
                  <a:gd name="T77" fmla="*/ 24 h 75"/>
                  <a:gd name="T78" fmla="*/ 18 w 124"/>
                  <a:gd name="T79" fmla="*/ 24 h 75"/>
                  <a:gd name="T80" fmla="*/ 18 w 124"/>
                  <a:gd name="T81" fmla="*/ 20 h 75"/>
                  <a:gd name="T82" fmla="*/ 20 w 124"/>
                  <a:gd name="T83" fmla="*/ 16 h 75"/>
                  <a:gd name="T84" fmla="*/ 25 w 124"/>
                  <a:gd name="T85" fmla="*/ 18 h 75"/>
                  <a:gd name="T86" fmla="*/ 38 w 124"/>
                  <a:gd name="T87" fmla="*/ 23 h 75"/>
                  <a:gd name="T88" fmla="*/ 49 w 124"/>
                  <a:gd name="T89" fmla="*/ 20 h 75"/>
                  <a:gd name="T90" fmla="*/ 52 w 124"/>
                  <a:gd name="T91" fmla="*/ 14 h 75"/>
                  <a:gd name="T92" fmla="*/ 63 w 124"/>
                  <a:gd name="T93" fmla="*/ 10 h 75"/>
                  <a:gd name="T94" fmla="*/ 70 w 124"/>
                  <a:gd name="T95" fmla="*/ 13 h 75"/>
                  <a:gd name="T96" fmla="*/ 80 w 124"/>
                  <a:gd name="T97" fmla="*/ 3 h 75"/>
                  <a:gd name="T98" fmla="*/ 89 w 124"/>
                  <a:gd name="T99" fmla="*/ 2 h 75"/>
                  <a:gd name="T100" fmla="*/ 98 w 124"/>
                  <a:gd name="T101" fmla="*/ 0 h 75"/>
                  <a:gd name="T102" fmla="*/ 101 w 124"/>
                  <a:gd name="T103" fmla="*/ 4 h 75"/>
                  <a:gd name="T104" fmla="*/ 103 w 124"/>
                  <a:gd name="T105" fmla="*/ 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4" h="75">
                    <a:moveTo>
                      <a:pt x="110" y="4"/>
                    </a:move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3" y="6"/>
                    </a:lnTo>
                    <a:lnTo>
                      <a:pt x="113" y="6"/>
                    </a:lnTo>
                    <a:lnTo>
                      <a:pt x="113" y="7"/>
                    </a:lnTo>
                    <a:lnTo>
                      <a:pt x="113" y="9"/>
                    </a:lnTo>
                    <a:lnTo>
                      <a:pt x="114" y="9"/>
                    </a:lnTo>
                    <a:lnTo>
                      <a:pt x="116" y="9"/>
                    </a:lnTo>
                    <a:lnTo>
                      <a:pt x="117" y="10"/>
                    </a:lnTo>
                    <a:lnTo>
                      <a:pt x="119" y="13"/>
                    </a:lnTo>
                    <a:lnTo>
                      <a:pt x="120" y="13"/>
                    </a:lnTo>
                    <a:lnTo>
                      <a:pt x="120" y="13"/>
                    </a:lnTo>
                    <a:lnTo>
                      <a:pt x="120" y="13"/>
                    </a:lnTo>
                    <a:lnTo>
                      <a:pt x="121" y="13"/>
                    </a:lnTo>
                    <a:lnTo>
                      <a:pt x="121" y="13"/>
                    </a:lnTo>
                    <a:lnTo>
                      <a:pt x="123" y="14"/>
                    </a:lnTo>
                    <a:lnTo>
                      <a:pt x="123" y="16"/>
                    </a:lnTo>
                    <a:lnTo>
                      <a:pt x="123" y="16"/>
                    </a:lnTo>
                    <a:lnTo>
                      <a:pt x="123" y="17"/>
                    </a:lnTo>
                    <a:lnTo>
                      <a:pt x="124" y="17"/>
                    </a:lnTo>
                    <a:lnTo>
                      <a:pt x="123" y="18"/>
                    </a:lnTo>
                    <a:lnTo>
                      <a:pt x="120" y="21"/>
                    </a:lnTo>
                    <a:lnTo>
                      <a:pt x="119" y="23"/>
                    </a:lnTo>
                    <a:lnTo>
                      <a:pt x="119" y="23"/>
                    </a:lnTo>
                    <a:lnTo>
                      <a:pt x="117" y="23"/>
                    </a:lnTo>
                    <a:lnTo>
                      <a:pt x="116" y="23"/>
                    </a:lnTo>
                    <a:lnTo>
                      <a:pt x="114" y="23"/>
                    </a:lnTo>
                    <a:lnTo>
                      <a:pt x="113" y="23"/>
                    </a:lnTo>
                    <a:lnTo>
                      <a:pt x="112" y="24"/>
                    </a:lnTo>
                    <a:lnTo>
                      <a:pt x="112" y="25"/>
                    </a:lnTo>
                    <a:lnTo>
                      <a:pt x="110" y="28"/>
                    </a:lnTo>
                    <a:lnTo>
                      <a:pt x="109" y="28"/>
                    </a:lnTo>
                    <a:lnTo>
                      <a:pt x="108" y="29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6" y="34"/>
                    </a:lnTo>
                    <a:lnTo>
                      <a:pt x="105" y="35"/>
                    </a:lnTo>
                    <a:lnTo>
                      <a:pt x="103" y="39"/>
                    </a:lnTo>
                    <a:lnTo>
                      <a:pt x="103" y="41"/>
                    </a:lnTo>
                    <a:lnTo>
                      <a:pt x="102" y="42"/>
                    </a:lnTo>
                    <a:lnTo>
                      <a:pt x="102" y="42"/>
                    </a:lnTo>
                    <a:lnTo>
                      <a:pt x="102" y="43"/>
                    </a:lnTo>
                    <a:lnTo>
                      <a:pt x="101" y="46"/>
                    </a:lnTo>
                    <a:lnTo>
                      <a:pt x="99" y="48"/>
                    </a:lnTo>
                    <a:lnTo>
                      <a:pt x="98" y="49"/>
                    </a:lnTo>
                    <a:lnTo>
                      <a:pt x="99" y="50"/>
                    </a:lnTo>
                    <a:lnTo>
                      <a:pt x="96" y="52"/>
                    </a:lnTo>
                    <a:lnTo>
                      <a:pt x="96" y="53"/>
                    </a:lnTo>
                    <a:lnTo>
                      <a:pt x="95" y="53"/>
                    </a:lnTo>
                    <a:lnTo>
                      <a:pt x="95" y="55"/>
                    </a:lnTo>
                    <a:lnTo>
                      <a:pt x="94" y="56"/>
                    </a:lnTo>
                    <a:lnTo>
                      <a:pt x="95" y="57"/>
                    </a:lnTo>
                    <a:lnTo>
                      <a:pt x="95" y="59"/>
                    </a:lnTo>
                    <a:lnTo>
                      <a:pt x="94" y="59"/>
                    </a:lnTo>
                    <a:lnTo>
                      <a:pt x="92" y="60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91" y="63"/>
                    </a:lnTo>
                    <a:lnTo>
                      <a:pt x="87" y="62"/>
                    </a:lnTo>
                    <a:lnTo>
                      <a:pt x="85" y="63"/>
                    </a:lnTo>
                    <a:lnTo>
                      <a:pt x="85" y="63"/>
                    </a:lnTo>
                    <a:lnTo>
                      <a:pt x="85" y="64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2" y="66"/>
                    </a:lnTo>
                    <a:lnTo>
                      <a:pt x="81" y="64"/>
                    </a:lnTo>
                    <a:lnTo>
                      <a:pt x="77" y="66"/>
                    </a:lnTo>
                    <a:lnTo>
                      <a:pt x="75" y="66"/>
                    </a:lnTo>
                    <a:lnTo>
                      <a:pt x="75" y="66"/>
                    </a:lnTo>
                    <a:lnTo>
                      <a:pt x="74" y="66"/>
                    </a:lnTo>
                    <a:lnTo>
                      <a:pt x="70" y="64"/>
                    </a:lnTo>
                    <a:lnTo>
                      <a:pt x="69" y="66"/>
                    </a:lnTo>
                    <a:lnTo>
                      <a:pt x="67" y="64"/>
                    </a:lnTo>
                    <a:lnTo>
                      <a:pt x="64" y="64"/>
                    </a:lnTo>
                    <a:lnTo>
                      <a:pt x="63" y="64"/>
                    </a:lnTo>
                    <a:lnTo>
                      <a:pt x="62" y="67"/>
                    </a:lnTo>
                    <a:lnTo>
                      <a:pt x="62" y="67"/>
                    </a:lnTo>
                    <a:lnTo>
                      <a:pt x="60" y="67"/>
                    </a:lnTo>
                    <a:lnTo>
                      <a:pt x="59" y="69"/>
                    </a:lnTo>
                    <a:lnTo>
                      <a:pt x="59" y="69"/>
                    </a:lnTo>
                    <a:lnTo>
                      <a:pt x="57" y="70"/>
                    </a:lnTo>
                    <a:lnTo>
                      <a:pt x="56" y="70"/>
                    </a:lnTo>
                    <a:lnTo>
                      <a:pt x="55" y="69"/>
                    </a:lnTo>
                    <a:lnTo>
                      <a:pt x="55" y="69"/>
                    </a:lnTo>
                    <a:lnTo>
                      <a:pt x="55" y="70"/>
                    </a:lnTo>
                    <a:lnTo>
                      <a:pt x="53" y="70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50" y="71"/>
                    </a:lnTo>
                    <a:lnTo>
                      <a:pt x="48" y="71"/>
                    </a:lnTo>
                    <a:lnTo>
                      <a:pt x="48" y="71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3" y="75"/>
                    </a:lnTo>
                    <a:lnTo>
                      <a:pt x="42" y="75"/>
                    </a:lnTo>
                    <a:lnTo>
                      <a:pt x="41" y="75"/>
                    </a:lnTo>
                    <a:lnTo>
                      <a:pt x="39" y="75"/>
                    </a:lnTo>
                    <a:lnTo>
                      <a:pt x="35" y="75"/>
                    </a:lnTo>
                    <a:lnTo>
                      <a:pt x="32" y="74"/>
                    </a:lnTo>
                    <a:lnTo>
                      <a:pt x="30" y="74"/>
                    </a:lnTo>
                    <a:lnTo>
                      <a:pt x="28" y="73"/>
                    </a:lnTo>
                    <a:lnTo>
                      <a:pt x="28" y="71"/>
                    </a:lnTo>
                    <a:lnTo>
                      <a:pt x="27" y="70"/>
                    </a:lnTo>
                    <a:lnTo>
                      <a:pt x="24" y="70"/>
                    </a:lnTo>
                    <a:lnTo>
                      <a:pt x="23" y="69"/>
                    </a:lnTo>
                    <a:lnTo>
                      <a:pt x="21" y="67"/>
                    </a:lnTo>
                    <a:lnTo>
                      <a:pt x="20" y="66"/>
                    </a:lnTo>
                    <a:lnTo>
                      <a:pt x="17" y="64"/>
                    </a:lnTo>
                    <a:lnTo>
                      <a:pt x="16" y="63"/>
                    </a:lnTo>
                    <a:lnTo>
                      <a:pt x="14" y="60"/>
                    </a:lnTo>
                    <a:lnTo>
                      <a:pt x="13" y="59"/>
                    </a:lnTo>
                    <a:lnTo>
                      <a:pt x="9" y="56"/>
                    </a:lnTo>
                    <a:lnTo>
                      <a:pt x="9" y="56"/>
                    </a:lnTo>
                    <a:lnTo>
                      <a:pt x="9" y="56"/>
                    </a:lnTo>
                    <a:lnTo>
                      <a:pt x="6" y="53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0"/>
                    </a:lnTo>
                    <a:lnTo>
                      <a:pt x="4" y="50"/>
                    </a:lnTo>
                    <a:lnTo>
                      <a:pt x="4" y="49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0" y="46"/>
                    </a:lnTo>
                    <a:lnTo>
                      <a:pt x="3" y="43"/>
                    </a:lnTo>
                    <a:lnTo>
                      <a:pt x="4" y="42"/>
                    </a:lnTo>
                    <a:lnTo>
                      <a:pt x="6" y="43"/>
                    </a:lnTo>
                    <a:lnTo>
                      <a:pt x="7" y="42"/>
                    </a:lnTo>
                    <a:lnTo>
                      <a:pt x="7" y="42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7" y="39"/>
                    </a:lnTo>
                    <a:lnTo>
                      <a:pt x="7" y="39"/>
                    </a:lnTo>
                    <a:lnTo>
                      <a:pt x="7" y="39"/>
                    </a:lnTo>
                    <a:lnTo>
                      <a:pt x="6" y="36"/>
                    </a:lnTo>
                    <a:lnTo>
                      <a:pt x="7" y="36"/>
                    </a:lnTo>
                    <a:lnTo>
                      <a:pt x="7" y="35"/>
                    </a:lnTo>
                    <a:lnTo>
                      <a:pt x="7" y="32"/>
                    </a:lnTo>
                    <a:lnTo>
                      <a:pt x="7" y="32"/>
                    </a:lnTo>
                    <a:lnTo>
                      <a:pt x="9" y="32"/>
                    </a:lnTo>
                    <a:lnTo>
                      <a:pt x="9" y="31"/>
                    </a:lnTo>
                    <a:lnTo>
                      <a:pt x="10" y="31"/>
                    </a:lnTo>
                    <a:lnTo>
                      <a:pt x="10" y="29"/>
                    </a:lnTo>
                    <a:lnTo>
                      <a:pt x="11" y="28"/>
                    </a:lnTo>
                    <a:lnTo>
                      <a:pt x="10" y="27"/>
                    </a:lnTo>
                    <a:lnTo>
                      <a:pt x="7" y="25"/>
                    </a:lnTo>
                    <a:lnTo>
                      <a:pt x="6" y="25"/>
                    </a:lnTo>
                    <a:lnTo>
                      <a:pt x="7" y="24"/>
                    </a:lnTo>
                    <a:lnTo>
                      <a:pt x="9" y="24"/>
                    </a:lnTo>
                    <a:lnTo>
                      <a:pt x="9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3" y="24"/>
                    </a:lnTo>
                    <a:lnTo>
                      <a:pt x="13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7" y="24"/>
                    </a:lnTo>
                    <a:lnTo>
                      <a:pt x="18" y="24"/>
                    </a:lnTo>
                    <a:lnTo>
                      <a:pt x="18" y="23"/>
                    </a:lnTo>
                    <a:lnTo>
                      <a:pt x="18" y="21"/>
                    </a:lnTo>
                    <a:lnTo>
                      <a:pt x="17" y="20"/>
                    </a:lnTo>
                    <a:lnTo>
                      <a:pt x="18" y="20"/>
                    </a:lnTo>
                    <a:lnTo>
                      <a:pt x="18" y="18"/>
                    </a:lnTo>
                    <a:lnTo>
                      <a:pt x="18" y="17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5" y="18"/>
                    </a:lnTo>
                    <a:lnTo>
                      <a:pt x="28" y="21"/>
                    </a:lnTo>
                    <a:lnTo>
                      <a:pt x="31" y="23"/>
                    </a:lnTo>
                    <a:lnTo>
                      <a:pt x="34" y="23"/>
                    </a:lnTo>
                    <a:lnTo>
                      <a:pt x="38" y="23"/>
                    </a:lnTo>
                    <a:lnTo>
                      <a:pt x="43" y="23"/>
                    </a:lnTo>
                    <a:lnTo>
                      <a:pt x="48" y="21"/>
                    </a:lnTo>
                    <a:lnTo>
                      <a:pt x="49" y="21"/>
                    </a:lnTo>
                    <a:lnTo>
                      <a:pt x="49" y="20"/>
                    </a:lnTo>
                    <a:lnTo>
                      <a:pt x="49" y="18"/>
                    </a:lnTo>
                    <a:lnTo>
                      <a:pt x="49" y="17"/>
                    </a:lnTo>
                    <a:lnTo>
                      <a:pt x="49" y="16"/>
                    </a:lnTo>
                    <a:lnTo>
                      <a:pt x="52" y="14"/>
                    </a:lnTo>
                    <a:lnTo>
                      <a:pt x="59" y="14"/>
                    </a:lnTo>
                    <a:lnTo>
                      <a:pt x="62" y="13"/>
                    </a:lnTo>
                    <a:lnTo>
                      <a:pt x="63" y="11"/>
                    </a:lnTo>
                    <a:lnTo>
                      <a:pt x="63" y="10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69" y="11"/>
                    </a:lnTo>
                    <a:lnTo>
                      <a:pt x="70" y="13"/>
                    </a:lnTo>
                    <a:lnTo>
                      <a:pt x="70" y="11"/>
                    </a:lnTo>
                    <a:lnTo>
                      <a:pt x="74" y="10"/>
                    </a:lnTo>
                    <a:lnTo>
                      <a:pt x="77" y="7"/>
                    </a:lnTo>
                    <a:lnTo>
                      <a:pt x="80" y="3"/>
                    </a:lnTo>
                    <a:lnTo>
                      <a:pt x="80" y="2"/>
                    </a:lnTo>
                    <a:lnTo>
                      <a:pt x="82" y="0"/>
                    </a:lnTo>
                    <a:lnTo>
                      <a:pt x="87" y="2"/>
                    </a:lnTo>
                    <a:lnTo>
                      <a:pt x="89" y="2"/>
                    </a:lnTo>
                    <a:lnTo>
                      <a:pt x="91" y="2"/>
                    </a:lnTo>
                    <a:lnTo>
                      <a:pt x="94" y="2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99" y="2"/>
                    </a:lnTo>
                    <a:lnTo>
                      <a:pt x="99" y="3"/>
                    </a:lnTo>
                    <a:lnTo>
                      <a:pt x="101" y="3"/>
                    </a:lnTo>
                    <a:lnTo>
                      <a:pt x="101" y="4"/>
                    </a:lnTo>
                    <a:lnTo>
                      <a:pt x="102" y="4"/>
                    </a:lnTo>
                    <a:lnTo>
                      <a:pt x="102" y="6"/>
                    </a:lnTo>
                    <a:lnTo>
                      <a:pt x="103" y="6"/>
                    </a:lnTo>
                    <a:lnTo>
                      <a:pt x="103" y="7"/>
                    </a:lnTo>
                    <a:lnTo>
                      <a:pt x="110" y="6"/>
                    </a:lnTo>
                    <a:lnTo>
                      <a:pt x="110" y="4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63" name="Ireland">
                <a:extLst>
                  <a:ext uri="{FF2B5EF4-FFF2-40B4-BE49-F238E27FC236}">
                    <a16:creationId xmlns:a16="http://schemas.microsoft.com/office/drawing/2014/main" id="{202A734C-7AE0-2FE8-461F-74991EB844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9039" y="2583109"/>
                <a:ext cx="61786" cy="92288"/>
              </a:xfrm>
              <a:custGeom>
                <a:avLst/>
                <a:gdLst>
                  <a:gd name="T0" fmla="*/ 53 w 79"/>
                  <a:gd name="T1" fmla="*/ 15 h 118"/>
                  <a:gd name="T2" fmla="*/ 48 w 79"/>
                  <a:gd name="T3" fmla="*/ 20 h 118"/>
                  <a:gd name="T4" fmla="*/ 46 w 79"/>
                  <a:gd name="T5" fmla="*/ 22 h 118"/>
                  <a:gd name="T6" fmla="*/ 43 w 79"/>
                  <a:gd name="T7" fmla="*/ 27 h 118"/>
                  <a:gd name="T8" fmla="*/ 46 w 79"/>
                  <a:gd name="T9" fmla="*/ 34 h 118"/>
                  <a:gd name="T10" fmla="*/ 54 w 79"/>
                  <a:gd name="T11" fmla="*/ 39 h 118"/>
                  <a:gd name="T12" fmla="*/ 58 w 79"/>
                  <a:gd name="T13" fmla="*/ 36 h 118"/>
                  <a:gd name="T14" fmla="*/ 61 w 79"/>
                  <a:gd name="T15" fmla="*/ 30 h 118"/>
                  <a:gd name="T16" fmla="*/ 65 w 79"/>
                  <a:gd name="T17" fmla="*/ 36 h 118"/>
                  <a:gd name="T18" fmla="*/ 68 w 79"/>
                  <a:gd name="T19" fmla="*/ 41 h 118"/>
                  <a:gd name="T20" fmla="*/ 73 w 79"/>
                  <a:gd name="T21" fmla="*/ 40 h 118"/>
                  <a:gd name="T22" fmla="*/ 73 w 79"/>
                  <a:gd name="T23" fmla="*/ 43 h 118"/>
                  <a:gd name="T24" fmla="*/ 75 w 79"/>
                  <a:gd name="T25" fmla="*/ 51 h 118"/>
                  <a:gd name="T26" fmla="*/ 78 w 79"/>
                  <a:gd name="T27" fmla="*/ 61 h 118"/>
                  <a:gd name="T28" fmla="*/ 79 w 79"/>
                  <a:gd name="T29" fmla="*/ 75 h 118"/>
                  <a:gd name="T30" fmla="*/ 75 w 79"/>
                  <a:gd name="T31" fmla="*/ 87 h 118"/>
                  <a:gd name="T32" fmla="*/ 71 w 79"/>
                  <a:gd name="T33" fmla="*/ 97 h 118"/>
                  <a:gd name="T34" fmla="*/ 64 w 79"/>
                  <a:gd name="T35" fmla="*/ 99 h 118"/>
                  <a:gd name="T36" fmla="*/ 57 w 79"/>
                  <a:gd name="T37" fmla="*/ 99 h 118"/>
                  <a:gd name="T38" fmla="*/ 50 w 79"/>
                  <a:gd name="T39" fmla="*/ 103 h 118"/>
                  <a:gd name="T40" fmla="*/ 41 w 79"/>
                  <a:gd name="T41" fmla="*/ 108 h 118"/>
                  <a:gd name="T42" fmla="*/ 36 w 79"/>
                  <a:gd name="T43" fmla="*/ 107 h 118"/>
                  <a:gd name="T44" fmla="*/ 36 w 79"/>
                  <a:gd name="T45" fmla="*/ 111 h 118"/>
                  <a:gd name="T46" fmla="*/ 19 w 79"/>
                  <a:gd name="T47" fmla="*/ 118 h 118"/>
                  <a:gd name="T48" fmla="*/ 11 w 79"/>
                  <a:gd name="T49" fmla="*/ 118 h 118"/>
                  <a:gd name="T50" fmla="*/ 15 w 79"/>
                  <a:gd name="T51" fmla="*/ 112 h 118"/>
                  <a:gd name="T52" fmla="*/ 8 w 79"/>
                  <a:gd name="T53" fmla="*/ 111 h 118"/>
                  <a:gd name="T54" fmla="*/ 5 w 79"/>
                  <a:gd name="T55" fmla="*/ 110 h 118"/>
                  <a:gd name="T56" fmla="*/ 2 w 79"/>
                  <a:gd name="T57" fmla="*/ 104 h 118"/>
                  <a:gd name="T58" fmla="*/ 8 w 79"/>
                  <a:gd name="T59" fmla="*/ 99 h 118"/>
                  <a:gd name="T60" fmla="*/ 2 w 79"/>
                  <a:gd name="T61" fmla="*/ 96 h 118"/>
                  <a:gd name="T62" fmla="*/ 11 w 79"/>
                  <a:gd name="T63" fmla="*/ 96 h 118"/>
                  <a:gd name="T64" fmla="*/ 11 w 79"/>
                  <a:gd name="T65" fmla="*/ 89 h 118"/>
                  <a:gd name="T66" fmla="*/ 29 w 79"/>
                  <a:gd name="T67" fmla="*/ 83 h 118"/>
                  <a:gd name="T68" fmla="*/ 18 w 79"/>
                  <a:gd name="T69" fmla="*/ 85 h 118"/>
                  <a:gd name="T70" fmla="*/ 11 w 79"/>
                  <a:gd name="T71" fmla="*/ 86 h 118"/>
                  <a:gd name="T72" fmla="*/ 18 w 79"/>
                  <a:gd name="T73" fmla="*/ 76 h 118"/>
                  <a:gd name="T74" fmla="*/ 22 w 79"/>
                  <a:gd name="T75" fmla="*/ 69 h 118"/>
                  <a:gd name="T76" fmla="*/ 25 w 79"/>
                  <a:gd name="T77" fmla="*/ 66 h 118"/>
                  <a:gd name="T78" fmla="*/ 14 w 79"/>
                  <a:gd name="T79" fmla="*/ 65 h 118"/>
                  <a:gd name="T80" fmla="*/ 9 w 79"/>
                  <a:gd name="T81" fmla="*/ 64 h 118"/>
                  <a:gd name="T82" fmla="*/ 5 w 79"/>
                  <a:gd name="T83" fmla="*/ 61 h 118"/>
                  <a:gd name="T84" fmla="*/ 5 w 79"/>
                  <a:gd name="T85" fmla="*/ 57 h 118"/>
                  <a:gd name="T86" fmla="*/ 8 w 79"/>
                  <a:gd name="T87" fmla="*/ 54 h 118"/>
                  <a:gd name="T88" fmla="*/ 14 w 79"/>
                  <a:gd name="T89" fmla="*/ 48 h 118"/>
                  <a:gd name="T90" fmla="*/ 9 w 79"/>
                  <a:gd name="T91" fmla="*/ 43 h 118"/>
                  <a:gd name="T92" fmla="*/ 7 w 79"/>
                  <a:gd name="T93" fmla="*/ 37 h 118"/>
                  <a:gd name="T94" fmla="*/ 8 w 79"/>
                  <a:gd name="T95" fmla="*/ 34 h 118"/>
                  <a:gd name="T96" fmla="*/ 22 w 79"/>
                  <a:gd name="T97" fmla="*/ 36 h 118"/>
                  <a:gd name="T98" fmla="*/ 32 w 79"/>
                  <a:gd name="T99" fmla="*/ 36 h 118"/>
                  <a:gd name="T100" fmla="*/ 34 w 79"/>
                  <a:gd name="T101" fmla="*/ 29 h 118"/>
                  <a:gd name="T102" fmla="*/ 40 w 79"/>
                  <a:gd name="T103" fmla="*/ 23 h 118"/>
                  <a:gd name="T104" fmla="*/ 33 w 79"/>
                  <a:gd name="T105" fmla="*/ 19 h 118"/>
                  <a:gd name="T106" fmla="*/ 36 w 79"/>
                  <a:gd name="T107" fmla="*/ 11 h 118"/>
                  <a:gd name="T108" fmla="*/ 43 w 79"/>
                  <a:gd name="T109" fmla="*/ 5 h 118"/>
                  <a:gd name="T110" fmla="*/ 48 w 79"/>
                  <a:gd name="T111" fmla="*/ 4 h 118"/>
                  <a:gd name="T112" fmla="*/ 51 w 79"/>
                  <a:gd name="T113" fmla="*/ 9 h 118"/>
                  <a:gd name="T114" fmla="*/ 53 w 79"/>
                  <a:gd name="T115" fmla="*/ 11 h 118"/>
                  <a:gd name="T116" fmla="*/ 53 w 79"/>
                  <a:gd name="T117" fmla="*/ 2 h 118"/>
                  <a:gd name="T118" fmla="*/ 58 w 79"/>
                  <a:gd name="T119" fmla="*/ 2 h 118"/>
                  <a:gd name="T120" fmla="*/ 57 w 79"/>
                  <a:gd name="T121" fmla="*/ 9 h 118"/>
                  <a:gd name="T122" fmla="*/ 2 w 79"/>
                  <a:gd name="T123" fmla="*/ 44 h 118"/>
                  <a:gd name="T124" fmla="*/ 8 w 79"/>
                  <a:gd name="T125" fmla="*/ 46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9" h="118">
                    <a:moveTo>
                      <a:pt x="57" y="9"/>
                    </a:moveTo>
                    <a:lnTo>
                      <a:pt x="54" y="11"/>
                    </a:lnTo>
                    <a:lnTo>
                      <a:pt x="54" y="12"/>
                    </a:lnTo>
                    <a:lnTo>
                      <a:pt x="53" y="15"/>
                    </a:lnTo>
                    <a:lnTo>
                      <a:pt x="53" y="15"/>
                    </a:lnTo>
                    <a:lnTo>
                      <a:pt x="53" y="18"/>
                    </a:lnTo>
                    <a:lnTo>
                      <a:pt x="51" y="19"/>
                    </a:lnTo>
                    <a:lnTo>
                      <a:pt x="50" y="19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7" y="20"/>
                    </a:lnTo>
                    <a:lnTo>
                      <a:pt x="46" y="20"/>
                    </a:lnTo>
                    <a:lnTo>
                      <a:pt x="44" y="20"/>
                    </a:lnTo>
                    <a:lnTo>
                      <a:pt x="44" y="22"/>
                    </a:lnTo>
                    <a:lnTo>
                      <a:pt x="46" y="22"/>
                    </a:lnTo>
                    <a:lnTo>
                      <a:pt x="46" y="23"/>
                    </a:lnTo>
                    <a:lnTo>
                      <a:pt x="47" y="23"/>
                    </a:lnTo>
                    <a:lnTo>
                      <a:pt x="47" y="25"/>
                    </a:lnTo>
                    <a:lnTo>
                      <a:pt x="47" y="25"/>
                    </a:lnTo>
                    <a:lnTo>
                      <a:pt x="43" y="27"/>
                    </a:lnTo>
                    <a:lnTo>
                      <a:pt x="41" y="27"/>
                    </a:lnTo>
                    <a:lnTo>
                      <a:pt x="40" y="29"/>
                    </a:lnTo>
                    <a:lnTo>
                      <a:pt x="41" y="30"/>
                    </a:lnTo>
                    <a:lnTo>
                      <a:pt x="44" y="33"/>
                    </a:lnTo>
                    <a:lnTo>
                      <a:pt x="46" y="34"/>
                    </a:lnTo>
                    <a:lnTo>
                      <a:pt x="46" y="36"/>
                    </a:lnTo>
                    <a:lnTo>
                      <a:pt x="48" y="37"/>
                    </a:lnTo>
                    <a:lnTo>
                      <a:pt x="50" y="39"/>
                    </a:lnTo>
                    <a:lnTo>
                      <a:pt x="51" y="39"/>
                    </a:lnTo>
                    <a:lnTo>
                      <a:pt x="54" y="39"/>
                    </a:lnTo>
                    <a:lnTo>
                      <a:pt x="55" y="39"/>
                    </a:lnTo>
                    <a:lnTo>
                      <a:pt x="55" y="39"/>
                    </a:lnTo>
                    <a:lnTo>
                      <a:pt x="55" y="39"/>
                    </a:lnTo>
                    <a:lnTo>
                      <a:pt x="58" y="36"/>
                    </a:lnTo>
                    <a:lnTo>
                      <a:pt x="58" y="36"/>
                    </a:lnTo>
                    <a:lnTo>
                      <a:pt x="58" y="34"/>
                    </a:lnTo>
                    <a:lnTo>
                      <a:pt x="58" y="33"/>
                    </a:lnTo>
                    <a:lnTo>
                      <a:pt x="58" y="32"/>
                    </a:lnTo>
                    <a:lnTo>
                      <a:pt x="60" y="30"/>
                    </a:lnTo>
                    <a:lnTo>
                      <a:pt x="61" y="30"/>
                    </a:lnTo>
                    <a:lnTo>
                      <a:pt x="62" y="32"/>
                    </a:lnTo>
                    <a:lnTo>
                      <a:pt x="64" y="33"/>
                    </a:lnTo>
                    <a:lnTo>
                      <a:pt x="64" y="34"/>
                    </a:lnTo>
                    <a:lnTo>
                      <a:pt x="64" y="34"/>
                    </a:lnTo>
                    <a:lnTo>
                      <a:pt x="65" y="36"/>
                    </a:lnTo>
                    <a:lnTo>
                      <a:pt x="65" y="37"/>
                    </a:lnTo>
                    <a:lnTo>
                      <a:pt x="67" y="37"/>
                    </a:lnTo>
                    <a:lnTo>
                      <a:pt x="68" y="37"/>
                    </a:lnTo>
                    <a:lnTo>
                      <a:pt x="68" y="40"/>
                    </a:lnTo>
                    <a:lnTo>
                      <a:pt x="68" y="41"/>
                    </a:lnTo>
                    <a:lnTo>
                      <a:pt x="69" y="41"/>
                    </a:lnTo>
                    <a:lnTo>
                      <a:pt x="71" y="41"/>
                    </a:lnTo>
                    <a:lnTo>
                      <a:pt x="72" y="41"/>
                    </a:lnTo>
                    <a:lnTo>
                      <a:pt x="72" y="40"/>
                    </a:lnTo>
                    <a:lnTo>
                      <a:pt x="73" y="40"/>
                    </a:lnTo>
                    <a:lnTo>
                      <a:pt x="75" y="40"/>
                    </a:lnTo>
                    <a:lnTo>
                      <a:pt x="76" y="41"/>
                    </a:lnTo>
                    <a:lnTo>
                      <a:pt x="76" y="43"/>
                    </a:lnTo>
                    <a:lnTo>
                      <a:pt x="75" y="43"/>
                    </a:lnTo>
                    <a:lnTo>
                      <a:pt x="73" y="43"/>
                    </a:lnTo>
                    <a:lnTo>
                      <a:pt x="73" y="43"/>
                    </a:lnTo>
                    <a:lnTo>
                      <a:pt x="73" y="44"/>
                    </a:lnTo>
                    <a:lnTo>
                      <a:pt x="73" y="47"/>
                    </a:lnTo>
                    <a:lnTo>
                      <a:pt x="75" y="48"/>
                    </a:lnTo>
                    <a:lnTo>
                      <a:pt x="75" y="51"/>
                    </a:lnTo>
                    <a:lnTo>
                      <a:pt x="76" y="54"/>
                    </a:lnTo>
                    <a:lnTo>
                      <a:pt x="76" y="55"/>
                    </a:lnTo>
                    <a:lnTo>
                      <a:pt x="76" y="58"/>
                    </a:lnTo>
                    <a:lnTo>
                      <a:pt x="76" y="59"/>
                    </a:lnTo>
                    <a:lnTo>
                      <a:pt x="78" y="61"/>
                    </a:lnTo>
                    <a:lnTo>
                      <a:pt x="76" y="62"/>
                    </a:lnTo>
                    <a:lnTo>
                      <a:pt x="76" y="64"/>
                    </a:lnTo>
                    <a:lnTo>
                      <a:pt x="78" y="68"/>
                    </a:lnTo>
                    <a:lnTo>
                      <a:pt x="79" y="71"/>
                    </a:lnTo>
                    <a:lnTo>
                      <a:pt x="79" y="75"/>
                    </a:lnTo>
                    <a:lnTo>
                      <a:pt x="78" y="78"/>
                    </a:lnTo>
                    <a:lnTo>
                      <a:pt x="76" y="79"/>
                    </a:lnTo>
                    <a:lnTo>
                      <a:pt x="76" y="82"/>
                    </a:lnTo>
                    <a:lnTo>
                      <a:pt x="76" y="83"/>
                    </a:lnTo>
                    <a:lnTo>
                      <a:pt x="75" y="87"/>
                    </a:lnTo>
                    <a:lnTo>
                      <a:pt x="73" y="92"/>
                    </a:lnTo>
                    <a:lnTo>
                      <a:pt x="72" y="92"/>
                    </a:lnTo>
                    <a:lnTo>
                      <a:pt x="71" y="93"/>
                    </a:lnTo>
                    <a:lnTo>
                      <a:pt x="73" y="96"/>
                    </a:lnTo>
                    <a:lnTo>
                      <a:pt x="71" y="97"/>
                    </a:lnTo>
                    <a:lnTo>
                      <a:pt x="69" y="97"/>
                    </a:lnTo>
                    <a:lnTo>
                      <a:pt x="67" y="97"/>
                    </a:lnTo>
                    <a:lnTo>
                      <a:pt x="65" y="97"/>
                    </a:lnTo>
                    <a:lnTo>
                      <a:pt x="64" y="97"/>
                    </a:lnTo>
                    <a:lnTo>
                      <a:pt x="64" y="99"/>
                    </a:lnTo>
                    <a:lnTo>
                      <a:pt x="62" y="99"/>
                    </a:lnTo>
                    <a:lnTo>
                      <a:pt x="62" y="96"/>
                    </a:lnTo>
                    <a:lnTo>
                      <a:pt x="61" y="99"/>
                    </a:lnTo>
                    <a:lnTo>
                      <a:pt x="60" y="99"/>
                    </a:lnTo>
                    <a:lnTo>
                      <a:pt x="57" y="99"/>
                    </a:lnTo>
                    <a:lnTo>
                      <a:pt x="53" y="100"/>
                    </a:lnTo>
                    <a:lnTo>
                      <a:pt x="51" y="100"/>
                    </a:lnTo>
                    <a:lnTo>
                      <a:pt x="51" y="101"/>
                    </a:lnTo>
                    <a:lnTo>
                      <a:pt x="50" y="103"/>
                    </a:lnTo>
                    <a:lnTo>
                      <a:pt x="50" y="103"/>
                    </a:lnTo>
                    <a:lnTo>
                      <a:pt x="48" y="104"/>
                    </a:lnTo>
                    <a:lnTo>
                      <a:pt x="46" y="104"/>
                    </a:lnTo>
                    <a:lnTo>
                      <a:pt x="46" y="105"/>
                    </a:lnTo>
                    <a:lnTo>
                      <a:pt x="44" y="107"/>
                    </a:lnTo>
                    <a:lnTo>
                      <a:pt x="41" y="108"/>
                    </a:lnTo>
                    <a:lnTo>
                      <a:pt x="40" y="108"/>
                    </a:lnTo>
                    <a:lnTo>
                      <a:pt x="39" y="107"/>
                    </a:lnTo>
                    <a:lnTo>
                      <a:pt x="39" y="107"/>
                    </a:lnTo>
                    <a:lnTo>
                      <a:pt x="37" y="107"/>
                    </a:lnTo>
                    <a:lnTo>
                      <a:pt x="36" y="107"/>
                    </a:lnTo>
                    <a:lnTo>
                      <a:pt x="36" y="107"/>
                    </a:lnTo>
                    <a:lnTo>
                      <a:pt x="37" y="107"/>
                    </a:lnTo>
                    <a:lnTo>
                      <a:pt x="37" y="110"/>
                    </a:lnTo>
                    <a:lnTo>
                      <a:pt x="37" y="111"/>
                    </a:lnTo>
                    <a:lnTo>
                      <a:pt x="36" y="111"/>
                    </a:lnTo>
                    <a:lnTo>
                      <a:pt x="34" y="111"/>
                    </a:lnTo>
                    <a:lnTo>
                      <a:pt x="32" y="114"/>
                    </a:lnTo>
                    <a:lnTo>
                      <a:pt x="30" y="114"/>
                    </a:lnTo>
                    <a:lnTo>
                      <a:pt x="29" y="115"/>
                    </a:lnTo>
                    <a:lnTo>
                      <a:pt x="19" y="118"/>
                    </a:lnTo>
                    <a:lnTo>
                      <a:pt x="19" y="118"/>
                    </a:lnTo>
                    <a:lnTo>
                      <a:pt x="18" y="117"/>
                    </a:lnTo>
                    <a:lnTo>
                      <a:pt x="16" y="117"/>
                    </a:lnTo>
                    <a:lnTo>
                      <a:pt x="15" y="117"/>
                    </a:lnTo>
                    <a:lnTo>
                      <a:pt x="11" y="118"/>
                    </a:lnTo>
                    <a:lnTo>
                      <a:pt x="9" y="118"/>
                    </a:lnTo>
                    <a:lnTo>
                      <a:pt x="12" y="115"/>
                    </a:lnTo>
                    <a:lnTo>
                      <a:pt x="15" y="112"/>
                    </a:lnTo>
                    <a:lnTo>
                      <a:pt x="15" y="112"/>
                    </a:lnTo>
                    <a:lnTo>
                      <a:pt x="15" y="112"/>
                    </a:lnTo>
                    <a:lnTo>
                      <a:pt x="8" y="114"/>
                    </a:lnTo>
                    <a:lnTo>
                      <a:pt x="7" y="114"/>
                    </a:lnTo>
                    <a:lnTo>
                      <a:pt x="4" y="115"/>
                    </a:lnTo>
                    <a:lnTo>
                      <a:pt x="5" y="114"/>
                    </a:lnTo>
                    <a:lnTo>
                      <a:pt x="8" y="111"/>
                    </a:lnTo>
                    <a:lnTo>
                      <a:pt x="9" y="110"/>
                    </a:lnTo>
                    <a:lnTo>
                      <a:pt x="11" y="110"/>
                    </a:lnTo>
                    <a:lnTo>
                      <a:pt x="11" y="108"/>
                    </a:lnTo>
                    <a:lnTo>
                      <a:pt x="14" y="107"/>
                    </a:lnTo>
                    <a:lnTo>
                      <a:pt x="5" y="110"/>
                    </a:lnTo>
                    <a:lnTo>
                      <a:pt x="2" y="110"/>
                    </a:lnTo>
                    <a:lnTo>
                      <a:pt x="2" y="108"/>
                    </a:lnTo>
                    <a:lnTo>
                      <a:pt x="1" y="110"/>
                    </a:lnTo>
                    <a:lnTo>
                      <a:pt x="0" y="107"/>
                    </a:lnTo>
                    <a:lnTo>
                      <a:pt x="2" y="104"/>
                    </a:lnTo>
                    <a:lnTo>
                      <a:pt x="4" y="103"/>
                    </a:lnTo>
                    <a:lnTo>
                      <a:pt x="5" y="101"/>
                    </a:lnTo>
                    <a:lnTo>
                      <a:pt x="8" y="101"/>
                    </a:lnTo>
                    <a:lnTo>
                      <a:pt x="8" y="100"/>
                    </a:lnTo>
                    <a:lnTo>
                      <a:pt x="8" y="99"/>
                    </a:lnTo>
                    <a:lnTo>
                      <a:pt x="2" y="100"/>
                    </a:lnTo>
                    <a:lnTo>
                      <a:pt x="0" y="99"/>
                    </a:lnTo>
                    <a:lnTo>
                      <a:pt x="0" y="99"/>
                    </a:lnTo>
                    <a:lnTo>
                      <a:pt x="0" y="97"/>
                    </a:lnTo>
                    <a:lnTo>
                      <a:pt x="2" y="96"/>
                    </a:lnTo>
                    <a:lnTo>
                      <a:pt x="4" y="94"/>
                    </a:lnTo>
                    <a:lnTo>
                      <a:pt x="5" y="94"/>
                    </a:lnTo>
                    <a:lnTo>
                      <a:pt x="7" y="96"/>
                    </a:lnTo>
                    <a:lnTo>
                      <a:pt x="8" y="96"/>
                    </a:lnTo>
                    <a:lnTo>
                      <a:pt x="11" y="96"/>
                    </a:lnTo>
                    <a:lnTo>
                      <a:pt x="9" y="94"/>
                    </a:lnTo>
                    <a:lnTo>
                      <a:pt x="9" y="92"/>
                    </a:lnTo>
                    <a:lnTo>
                      <a:pt x="8" y="92"/>
                    </a:lnTo>
                    <a:lnTo>
                      <a:pt x="9" y="90"/>
                    </a:lnTo>
                    <a:lnTo>
                      <a:pt x="11" y="89"/>
                    </a:lnTo>
                    <a:lnTo>
                      <a:pt x="14" y="87"/>
                    </a:lnTo>
                    <a:lnTo>
                      <a:pt x="14" y="86"/>
                    </a:lnTo>
                    <a:lnTo>
                      <a:pt x="19" y="86"/>
                    </a:lnTo>
                    <a:lnTo>
                      <a:pt x="23" y="85"/>
                    </a:lnTo>
                    <a:lnTo>
                      <a:pt x="29" y="83"/>
                    </a:lnTo>
                    <a:lnTo>
                      <a:pt x="26" y="82"/>
                    </a:lnTo>
                    <a:lnTo>
                      <a:pt x="25" y="80"/>
                    </a:lnTo>
                    <a:lnTo>
                      <a:pt x="23" y="83"/>
                    </a:lnTo>
                    <a:lnTo>
                      <a:pt x="22" y="85"/>
                    </a:lnTo>
                    <a:lnTo>
                      <a:pt x="18" y="85"/>
                    </a:lnTo>
                    <a:lnTo>
                      <a:pt x="16" y="85"/>
                    </a:lnTo>
                    <a:lnTo>
                      <a:pt x="15" y="83"/>
                    </a:lnTo>
                    <a:lnTo>
                      <a:pt x="14" y="85"/>
                    </a:lnTo>
                    <a:lnTo>
                      <a:pt x="14" y="85"/>
                    </a:lnTo>
                    <a:lnTo>
                      <a:pt x="11" y="86"/>
                    </a:lnTo>
                    <a:lnTo>
                      <a:pt x="8" y="86"/>
                    </a:lnTo>
                    <a:lnTo>
                      <a:pt x="11" y="83"/>
                    </a:lnTo>
                    <a:lnTo>
                      <a:pt x="15" y="80"/>
                    </a:lnTo>
                    <a:lnTo>
                      <a:pt x="16" y="79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6" y="75"/>
                    </a:lnTo>
                    <a:lnTo>
                      <a:pt x="19" y="71"/>
                    </a:lnTo>
                    <a:lnTo>
                      <a:pt x="21" y="69"/>
                    </a:lnTo>
                    <a:lnTo>
                      <a:pt x="22" y="69"/>
                    </a:lnTo>
                    <a:lnTo>
                      <a:pt x="23" y="69"/>
                    </a:lnTo>
                    <a:lnTo>
                      <a:pt x="25" y="69"/>
                    </a:lnTo>
                    <a:lnTo>
                      <a:pt x="25" y="68"/>
                    </a:lnTo>
                    <a:lnTo>
                      <a:pt x="26" y="66"/>
                    </a:lnTo>
                    <a:lnTo>
                      <a:pt x="25" y="66"/>
                    </a:lnTo>
                    <a:lnTo>
                      <a:pt x="22" y="65"/>
                    </a:lnTo>
                    <a:lnTo>
                      <a:pt x="16" y="66"/>
                    </a:lnTo>
                    <a:lnTo>
                      <a:pt x="15" y="66"/>
                    </a:lnTo>
                    <a:lnTo>
                      <a:pt x="15" y="65"/>
                    </a:lnTo>
                    <a:lnTo>
                      <a:pt x="14" y="65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11" y="64"/>
                    </a:lnTo>
                    <a:lnTo>
                      <a:pt x="9" y="64"/>
                    </a:lnTo>
                    <a:lnTo>
                      <a:pt x="9" y="62"/>
                    </a:lnTo>
                    <a:lnTo>
                      <a:pt x="11" y="61"/>
                    </a:lnTo>
                    <a:lnTo>
                      <a:pt x="8" y="61"/>
                    </a:lnTo>
                    <a:lnTo>
                      <a:pt x="7" y="61"/>
                    </a:lnTo>
                    <a:lnTo>
                      <a:pt x="5" y="61"/>
                    </a:lnTo>
                    <a:lnTo>
                      <a:pt x="5" y="59"/>
                    </a:lnTo>
                    <a:lnTo>
                      <a:pt x="5" y="59"/>
                    </a:lnTo>
                    <a:lnTo>
                      <a:pt x="5" y="58"/>
                    </a:lnTo>
                    <a:lnTo>
                      <a:pt x="5" y="57"/>
                    </a:lnTo>
                    <a:lnTo>
                      <a:pt x="5" y="57"/>
                    </a:lnTo>
                    <a:lnTo>
                      <a:pt x="7" y="57"/>
                    </a:lnTo>
                    <a:lnTo>
                      <a:pt x="9" y="55"/>
                    </a:lnTo>
                    <a:lnTo>
                      <a:pt x="12" y="55"/>
                    </a:lnTo>
                    <a:lnTo>
                      <a:pt x="9" y="54"/>
                    </a:lnTo>
                    <a:lnTo>
                      <a:pt x="8" y="54"/>
                    </a:lnTo>
                    <a:lnTo>
                      <a:pt x="8" y="53"/>
                    </a:lnTo>
                    <a:lnTo>
                      <a:pt x="8" y="51"/>
                    </a:lnTo>
                    <a:lnTo>
                      <a:pt x="11" y="50"/>
                    </a:lnTo>
                    <a:lnTo>
                      <a:pt x="15" y="48"/>
                    </a:lnTo>
                    <a:lnTo>
                      <a:pt x="14" y="48"/>
                    </a:lnTo>
                    <a:lnTo>
                      <a:pt x="15" y="47"/>
                    </a:lnTo>
                    <a:lnTo>
                      <a:pt x="11" y="46"/>
                    </a:lnTo>
                    <a:lnTo>
                      <a:pt x="8" y="47"/>
                    </a:lnTo>
                    <a:lnTo>
                      <a:pt x="8" y="44"/>
                    </a:lnTo>
                    <a:lnTo>
                      <a:pt x="9" y="43"/>
                    </a:lnTo>
                    <a:lnTo>
                      <a:pt x="9" y="41"/>
                    </a:lnTo>
                    <a:lnTo>
                      <a:pt x="9" y="40"/>
                    </a:lnTo>
                    <a:lnTo>
                      <a:pt x="8" y="40"/>
                    </a:lnTo>
                    <a:lnTo>
                      <a:pt x="8" y="39"/>
                    </a:lnTo>
                    <a:lnTo>
                      <a:pt x="7" y="37"/>
                    </a:lnTo>
                    <a:lnTo>
                      <a:pt x="5" y="39"/>
                    </a:lnTo>
                    <a:lnTo>
                      <a:pt x="5" y="36"/>
                    </a:lnTo>
                    <a:lnTo>
                      <a:pt x="5" y="34"/>
                    </a:lnTo>
                    <a:lnTo>
                      <a:pt x="7" y="34"/>
                    </a:lnTo>
                    <a:lnTo>
                      <a:pt x="8" y="34"/>
                    </a:lnTo>
                    <a:lnTo>
                      <a:pt x="9" y="34"/>
                    </a:lnTo>
                    <a:lnTo>
                      <a:pt x="12" y="33"/>
                    </a:lnTo>
                    <a:lnTo>
                      <a:pt x="15" y="33"/>
                    </a:lnTo>
                    <a:lnTo>
                      <a:pt x="19" y="33"/>
                    </a:lnTo>
                    <a:lnTo>
                      <a:pt x="22" y="36"/>
                    </a:lnTo>
                    <a:lnTo>
                      <a:pt x="23" y="36"/>
                    </a:lnTo>
                    <a:lnTo>
                      <a:pt x="25" y="34"/>
                    </a:lnTo>
                    <a:lnTo>
                      <a:pt x="25" y="34"/>
                    </a:lnTo>
                    <a:lnTo>
                      <a:pt x="29" y="34"/>
                    </a:lnTo>
                    <a:lnTo>
                      <a:pt x="32" y="36"/>
                    </a:lnTo>
                    <a:lnTo>
                      <a:pt x="33" y="36"/>
                    </a:lnTo>
                    <a:lnTo>
                      <a:pt x="33" y="33"/>
                    </a:lnTo>
                    <a:lnTo>
                      <a:pt x="32" y="32"/>
                    </a:lnTo>
                    <a:lnTo>
                      <a:pt x="33" y="30"/>
                    </a:lnTo>
                    <a:lnTo>
                      <a:pt x="34" y="29"/>
                    </a:lnTo>
                    <a:lnTo>
                      <a:pt x="36" y="29"/>
                    </a:lnTo>
                    <a:lnTo>
                      <a:pt x="37" y="27"/>
                    </a:lnTo>
                    <a:lnTo>
                      <a:pt x="39" y="27"/>
                    </a:lnTo>
                    <a:lnTo>
                      <a:pt x="40" y="25"/>
                    </a:lnTo>
                    <a:lnTo>
                      <a:pt x="40" y="23"/>
                    </a:lnTo>
                    <a:lnTo>
                      <a:pt x="34" y="23"/>
                    </a:lnTo>
                    <a:lnTo>
                      <a:pt x="29" y="22"/>
                    </a:lnTo>
                    <a:lnTo>
                      <a:pt x="30" y="20"/>
                    </a:lnTo>
                    <a:lnTo>
                      <a:pt x="32" y="19"/>
                    </a:lnTo>
                    <a:lnTo>
                      <a:pt x="33" y="19"/>
                    </a:lnTo>
                    <a:lnTo>
                      <a:pt x="33" y="18"/>
                    </a:lnTo>
                    <a:lnTo>
                      <a:pt x="34" y="16"/>
                    </a:lnTo>
                    <a:lnTo>
                      <a:pt x="36" y="15"/>
                    </a:lnTo>
                    <a:lnTo>
                      <a:pt x="36" y="12"/>
                    </a:lnTo>
                    <a:lnTo>
                      <a:pt x="36" y="11"/>
                    </a:lnTo>
                    <a:lnTo>
                      <a:pt x="37" y="9"/>
                    </a:lnTo>
                    <a:lnTo>
                      <a:pt x="37" y="8"/>
                    </a:lnTo>
                    <a:lnTo>
                      <a:pt x="39" y="7"/>
                    </a:lnTo>
                    <a:lnTo>
                      <a:pt x="40" y="7"/>
                    </a:lnTo>
                    <a:lnTo>
                      <a:pt x="43" y="5"/>
                    </a:lnTo>
                    <a:lnTo>
                      <a:pt x="44" y="5"/>
                    </a:lnTo>
                    <a:lnTo>
                      <a:pt x="47" y="5"/>
                    </a:lnTo>
                    <a:lnTo>
                      <a:pt x="47" y="5"/>
                    </a:lnTo>
                    <a:lnTo>
                      <a:pt x="47" y="4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0" y="5"/>
                    </a:lnTo>
                    <a:lnTo>
                      <a:pt x="51" y="7"/>
                    </a:lnTo>
                    <a:lnTo>
                      <a:pt x="51" y="8"/>
                    </a:lnTo>
                    <a:lnTo>
                      <a:pt x="51" y="9"/>
                    </a:lnTo>
                    <a:lnTo>
                      <a:pt x="50" y="9"/>
                    </a:lnTo>
                    <a:lnTo>
                      <a:pt x="50" y="11"/>
                    </a:lnTo>
                    <a:lnTo>
                      <a:pt x="50" y="12"/>
                    </a:lnTo>
                    <a:lnTo>
                      <a:pt x="51" y="12"/>
                    </a:lnTo>
                    <a:lnTo>
                      <a:pt x="53" y="11"/>
                    </a:lnTo>
                    <a:lnTo>
                      <a:pt x="53" y="9"/>
                    </a:lnTo>
                    <a:lnTo>
                      <a:pt x="53" y="7"/>
                    </a:lnTo>
                    <a:lnTo>
                      <a:pt x="51" y="5"/>
                    </a:lnTo>
                    <a:lnTo>
                      <a:pt x="51" y="4"/>
                    </a:lnTo>
                    <a:lnTo>
                      <a:pt x="53" y="2"/>
                    </a:lnTo>
                    <a:lnTo>
                      <a:pt x="55" y="2"/>
                    </a:lnTo>
                    <a:lnTo>
                      <a:pt x="54" y="0"/>
                    </a:lnTo>
                    <a:lnTo>
                      <a:pt x="55" y="0"/>
                    </a:lnTo>
                    <a:lnTo>
                      <a:pt x="57" y="1"/>
                    </a:lnTo>
                    <a:lnTo>
                      <a:pt x="58" y="2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0" y="7"/>
                    </a:lnTo>
                    <a:lnTo>
                      <a:pt x="58" y="8"/>
                    </a:lnTo>
                    <a:lnTo>
                      <a:pt x="57" y="9"/>
                    </a:lnTo>
                    <a:close/>
                    <a:moveTo>
                      <a:pt x="8" y="46"/>
                    </a:moveTo>
                    <a:lnTo>
                      <a:pt x="8" y="47"/>
                    </a:lnTo>
                    <a:lnTo>
                      <a:pt x="7" y="46"/>
                    </a:lnTo>
                    <a:lnTo>
                      <a:pt x="5" y="44"/>
                    </a:lnTo>
                    <a:lnTo>
                      <a:pt x="2" y="44"/>
                    </a:lnTo>
                    <a:lnTo>
                      <a:pt x="4" y="43"/>
                    </a:lnTo>
                    <a:lnTo>
                      <a:pt x="4" y="43"/>
                    </a:lnTo>
                    <a:lnTo>
                      <a:pt x="7" y="43"/>
                    </a:lnTo>
                    <a:lnTo>
                      <a:pt x="8" y="43"/>
                    </a:lnTo>
                    <a:lnTo>
                      <a:pt x="8" y="46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65" name="Isle of Man">
                <a:extLst>
                  <a:ext uri="{FF2B5EF4-FFF2-40B4-BE49-F238E27FC236}">
                    <a16:creationId xmlns:a16="http://schemas.microsoft.com/office/drawing/2014/main" id="{5B2ECDB5-0FEE-481F-589D-D633C4C436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8030" y="2606572"/>
                <a:ext cx="7039" cy="8603"/>
              </a:xfrm>
              <a:custGeom>
                <a:avLst/>
                <a:gdLst>
                  <a:gd name="T0" fmla="*/ 7 w 9"/>
                  <a:gd name="T1" fmla="*/ 7 h 11"/>
                  <a:gd name="T2" fmla="*/ 3 w 9"/>
                  <a:gd name="T3" fmla="*/ 11 h 11"/>
                  <a:gd name="T4" fmla="*/ 2 w 9"/>
                  <a:gd name="T5" fmla="*/ 10 h 11"/>
                  <a:gd name="T6" fmla="*/ 0 w 9"/>
                  <a:gd name="T7" fmla="*/ 11 h 11"/>
                  <a:gd name="T8" fmla="*/ 0 w 9"/>
                  <a:gd name="T9" fmla="*/ 10 h 11"/>
                  <a:gd name="T10" fmla="*/ 2 w 9"/>
                  <a:gd name="T11" fmla="*/ 9 h 11"/>
                  <a:gd name="T12" fmla="*/ 2 w 9"/>
                  <a:gd name="T13" fmla="*/ 6 h 11"/>
                  <a:gd name="T14" fmla="*/ 3 w 9"/>
                  <a:gd name="T15" fmla="*/ 4 h 11"/>
                  <a:gd name="T16" fmla="*/ 6 w 9"/>
                  <a:gd name="T17" fmla="*/ 2 h 11"/>
                  <a:gd name="T18" fmla="*/ 7 w 9"/>
                  <a:gd name="T19" fmla="*/ 0 h 11"/>
                  <a:gd name="T20" fmla="*/ 7 w 9"/>
                  <a:gd name="T21" fmla="*/ 0 h 11"/>
                  <a:gd name="T22" fmla="*/ 7 w 9"/>
                  <a:gd name="T23" fmla="*/ 0 h 11"/>
                  <a:gd name="T24" fmla="*/ 9 w 9"/>
                  <a:gd name="T25" fmla="*/ 4 h 11"/>
                  <a:gd name="T26" fmla="*/ 7 w 9"/>
                  <a:gd name="T27" fmla="*/ 6 h 11"/>
                  <a:gd name="T28" fmla="*/ 7 w 9"/>
                  <a:gd name="T29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11">
                    <a:moveTo>
                      <a:pt x="7" y="7"/>
                    </a:moveTo>
                    <a:lnTo>
                      <a:pt x="3" y="11"/>
                    </a:lnTo>
                    <a:lnTo>
                      <a:pt x="2" y="10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2" y="9"/>
                    </a:lnTo>
                    <a:lnTo>
                      <a:pt x="2" y="6"/>
                    </a:lnTo>
                    <a:lnTo>
                      <a:pt x="3" y="4"/>
                    </a:lnTo>
                    <a:lnTo>
                      <a:pt x="6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9" y="4"/>
                    </a:lnTo>
                    <a:lnTo>
                      <a:pt x="7" y="6"/>
                    </a:lnTo>
                    <a:lnTo>
                      <a:pt x="7" y="7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69" name="Italy">
                <a:extLst>
                  <a:ext uri="{FF2B5EF4-FFF2-40B4-BE49-F238E27FC236}">
                    <a16:creationId xmlns:a16="http://schemas.microsoft.com/office/drawing/2014/main" id="{978937DD-E116-41AC-0778-37A0A53721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20706" y="2771594"/>
                <a:ext cx="167368" cy="197870"/>
              </a:xfrm>
              <a:custGeom>
                <a:avLst/>
                <a:gdLst>
                  <a:gd name="T0" fmla="*/ 124 w 214"/>
                  <a:gd name="T1" fmla="*/ 22 h 253"/>
                  <a:gd name="T2" fmla="*/ 124 w 214"/>
                  <a:gd name="T3" fmla="*/ 29 h 253"/>
                  <a:gd name="T4" fmla="*/ 129 w 214"/>
                  <a:gd name="T5" fmla="*/ 39 h 253"/>
                  <a:gd name="T6" fmla="*/ 114 w 214"/>
                  <a:gd name="T7" fmla="*/ 39 h 253"/>
                  <a:gd name="T8" fmla="*/ 102 w 214"/>
                  <a:gd name="T9" fmla="*/ 47 h 253"/>
                  <a:gd name="T10" fmla="*/ 103 w 214"/>
                  <a:gd name="T11" fmla="*/ 68 h 253"/>
                  <a:gd name="T12" fmla="*/ 132 w 214"/>
                  <a:gd name="T13" fmla="*/ 108 h 253"/>
                  <a:gd name="T14" fmla="*/ 173 w 214"/>
                  <a:gd name="T15" fmla="*/ 133 h 253"/>
                  <a:gd name="T16" fmla="*/ 205 w 214"/>
                  <a:gd name="T17" fmla="*/ 161 h 253"/>
                  <a:gd name="T18" fmla="*/ 203 w 214"/>
                  <a:gd name="T19" fmla="*/ 170 h 253"/>
                  <a:gd name="T20" fmla="*/ 182 w 214"/>
                  <a:gd name="T21" fmla="*/ 174 h 253"/>
                  <a:gd name="T22" fmla="*/ 187 w 214"/>
                  <a:gd name="T23" fmla="*/ 202 h 253"/>
                  <a:gd name="T24" fmla="*/ 164 w 214"/>
                  <a:gd name="T25" fmla="*/ 224 h 253"/>
                  <a:gd name="T26" fmla="*/ 174 w 214"/>
                  <a:gd name="T27" fmla="*/ 206 h 253"/>
                  <a:gd name="T28" fmla="*/ 157 w 214"/>
                  <a:gd name="T29" fmla="*/ 175 h 253"/>
                  <a:gd name="T30" fmla="*/ 143 w 214"/>
                  <a:gd name="T31" fmla="*/ 161 h 253"/>
                  <a:gd name="T32" fmla="*/ 134 w 214"/>
                  <a:gd name="T33" fmla="*/ 157 h 253"/>
                  <a:gd name="T34" fmla="*/ 116 w 214"/>
                  <a:gd name="T35" fmla="*/ 146 h 253"/>
                  <a:gd name="T36" fmla="*/ 83 w 214"/>
                  <a:gd name="T37" fmla="*/ 118 h 253"/>
                  <a:gd name="T38" fmla="*/ 74 w 214"/>
                  <a:gd name="T39" fmla="*/ 107 h 253"/>
                  <a:gd name="T40" fmla="*/ 65 w 214"/>
                  <a:gd name="T41" fmla="*/ 83 h 253"/>
                  <a:gd name="T42" fmla="*/ 26 w 214"/>
                  <a:gd name="T43" fmla="*/ 82 h 253"/>
                  <a:gd name="T44" fmla="*/ 18 w 214"/>
                  <a:gd name="T45" fmla="*/ 76 h 253"/>
                  <a:gd name="T46" fmla="*/ 4 w 214"/>
                  <a:gd name="T47" fmla="*/ 68 h 253"/>
                  <a:gd name="T48" fmla="*/ 4 w 214"/>
                  <a:gd name="T49" fmla="*/ 57 h 253"/>
                  <a:gd name="T50" fmla="*/ 5 w 214"/>
                  <a:gd name="T51" fmla="*/ 48 h 253"/>
                  <a:gd name="T52" fmla="*/ 3 w 214"/>
                  <a:gd name="T53" fmla="*/ 36 h 253"/>
                  <a:gd name="T54" fmla="*/ 17 w 214"/>
                  <a:gd name="T55" fmla="*/ 29 h 253"/>
                  <a:gd name="T56" fmla="*/ 29 w 214"/>
                  <a:gd name="T57" fmla="*/ 19 h 253"/>
                  <a:gd name="T58" fmla="*/ 39 w 214"/>
                  <a:gd name="T59" fmla="*/ 26 h 253"/>
                  <a:gd name="T60" fmla="*/ 43 w 214"/>
                  <a:gd name="T61" fmla="*/ 28 h 253"/>
                  <a:gd name="T62" fmla="*/ 50 w 214"/>
                  <a:gd name="T63" fmla="*/ 16 h 253"/>
                  <a:gd name="T64" fmla="*/ 63 w 214"/>
                  <a:gd name="T65" fmla="*/ 22 h 253"/>
                  <a:gd name="T66" fmla="*/ 64 w 214"/>
                  <a:gd name="T67" fmla="*/ 12 h 253"/>
                  <a:gd name="T68" fmla="*/ 70 w 214"/>
                  <a:gd name="T69" fmla="*/ 5 h 253"/>
                  <a:gd name="T70" fmla="*/ 83 w 214"/>
                  <a:gd name="T71" fmla="*/ 2 h 253"/>
                  <a:gd name="T72" fmla="*/ 100 w 214"/>
                  <a:gd name="T73" fmla="*/ 1 h 253"/>
                  <a:gd name="T74" fmla="*/ 118 w 214"/>
                  <a:gd name="T75" fmla="*/ 14 h 253"/>
                  <a:gd name="T76" fmla="*/ 106 w 214"/>
                  <a:gd name="T77" fmla="*/ 82 h 253"/>
                  <a:gd name="T78" fmla="*/ 68 w 214"/>
                  <a:gd name="T79" fmla="*/ 110 h 253"/>
                  <a:gd name="T80" fmla="*/ 68 w 214"/>
                  <a:gd name="T81" fmla="*/ 108 h 253"/>
                  <a:gd name="T82" fmla="*/ 56 w 214"/>
                  <a:gd name="T83" fmla="*/ 177 h 253"/>
                  <a:gd name="T84" fmla="*/ 44 w 214"/>
                  <a:gd name="T85" fmla="*/ 195 h 253"/>
                  <a:gd name="T86" fmla="*/ 33 w 214"/>
                  <a:gd name="T87" fmla="*/ 198 h 253"/>
                  <a:gd name="T88" fmla="*/ 35 w 214"/>
                  <a:gd name="T89" fmla="*/ 184 h 253"/>
                  <a:gd name="T90" fmla="*/ 32 w 214"/>
                  <a:gd name="T91" fmla="*/ 168 h 253"/>
                  <a:gd name="T92" fmla="*/ 31 w 214"/>
                  <a:gd name="T93" fmla="*/ 156 h 253"/>
                  <a:gd name="T94" fmla="*/ 47 w 214"/>
                  <a:gd name="T95" fmla="*/ 147 h 253"/>
                  <a:gd name="T96" fmla="*/ 53 w 214"/>
                  <a:gd name="T97" fmla="*/ 154 h 253"/>
                  <a:gd name="T98" fmla="*/ 31 w 214"/>
                  <a:gd name="T99" fmla="*/ 152 h 253"/>
                  <a:gd name="T100" fmla="*/ 33 w 214"/>
                  <a:gd name="T101" fmla="*/ 199 h 253"/>
                  <a:gd name="T102" fmla="*/ 156 w 214"/>
                  <a:gd name="T103" fmla="*/ 228 h 253"/>
                  <a:gd name="T104" fmla="*/ 156 w 214"/>
                  <a:gd name="T105" fmla="*/ 241 h 253"/>
                  <a:gd name="T106" fmla="*/ 153 w 214"/>
                  <a:gd name="T107" fmla="*/ 252 h 253"/>
                  <a:gd name="T108" fmla="*/ 136 w 214"/>
                  <a:gd name="T109" fmla="*/ 244 h 253"/>
                  <a:gd name="T110" fmla="*/ 114 w 214"/>
                  <a:gd name="T111" fmla="*/ 232 h 253"/>
                  <a:gd name="T112" fmla="*/ 109 w 214"/>
                  <a:gd name="T113" fmla="*/ 221 h 253"/>
                  <a:gd name="T114" fmla="*/ 121 w 214"/>
                  <a:gd name="T115" fmla="*/ 218 h 253"/>
                  <a:gd name="T116" fmla="*/ 139 w 214"/>
                  <a:gd name="T117" fmla="*/ 223 h 253"/>
                  <a:gd name="T118" fmla="*/ 156 w 214"/>
                  <a:gd name="T119" fmla="*/ 218 h 253"/>
                  <a:gd name="T120" fmla="*/ 96 w 214"/>
                  <a:gd name="T121" fmla="*/ 250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14" h="253">
                    <a:moveTo>
                      <a:pt x="128" y="15"/>
                    </a:moveTo>
                    <a:lnTo>
                      <a:pt x="128" y="16"/>
                    </a:lnTo>
                    <a:lnTo>
                      <a:pt x="127" y="16"/>
                    </a:lnTo>
                    <a:lnTo>
                      <a:pt x="125" y="18"/>
                    </a:lnTo>
                    <a:lnTo>
                      <a:pt x="124" y="18"/>
                    </a:lnTo>
                    <a:lnTo>
                      <a:pt x="122" y="19"/>
                    </a:lnTo>
                    <a:lnTo>
                      <a:pt x="122" y="21"/>
                    </a:lnTo>
                    <a:lnTo>
                      <a:pt x="122" y="22"/>
                    </a:lnTo>
                    <a:lnTo>
                      <a:pt x="122" y="22"/>
                    </a:lnTo>
                    <a:lnTo>
                      <a:pt x="124" y="22"/>
                    </a:lnTo>
                    <a:lnTo>
                      <a:pt x="124" y="22"/>
                    </a:lnTo>
                    <a:lnTo>
                      <a:pt x="125" y="23"/>
                    </a:lnTo>
                    <a:lnTo>
                      <a:pt x="127" y="23"/>
                    </a:lnTo>
                    <a:lnTo>
                      <a:pt x="127" y="23"/>
                    </a:lnTo>
                    <a:lnTo>
                      <a:pt x="127" y="25"/>
                    </a:lnTo>
                    <a:lnTo>
                      <a:pt x="125" y="26"/>
                    </a:lnTo>
                    <a:lnTo>
                      <a:pt x="124" y="28"/>
                    </a:lnTo>
                    <a:lnTo>
                      <a:pt x="124" y="28"/>
                    </a:lnTo>
                    <a:lnTo>
                      <a:pt x="124" y="29"/>
                    </a:lnTo>
                    <a:lnTo>
                      <a:pt x="124" y="29"/>
                    </a:lnTo>
                    <a:lnTo>
                      <a:pt x="127" y="29"/>
                    </a:lnTo>
                    <a:lnTo>
                      <a:pt x="127" y="29"/>
                    </a:lnTo>
                    <a:lnTo>
                      <a:pt x="125" y="32"/>
                    </a:lnTo>
                    <a:lnTo>
                      <a:pt x="125" y="33"/>
                    </a:lnTo>
                    <a:lnTo>
                      <a:pt x="127" y="33"/>
                    </a:lnTo>
                    <a:lnTo>
                      <a:pt x="128" y="34"/>
                    </a:lnTo>
                    <a:lnTo>
                      <a:pt x="131" y="36"/>
                    </a:lnTo>
                    <a:lnTo>
                      <a:pt x="131" y="39"/>
                    </a:lnTo>
                    <a:lnTo>
                      <a:pt x="131" y="39"/>
                    </a:lnTo>
                    <a:lnTo>
                      <a:pt x="129" y="39"/>
                    </a:lnTo>
                    <a:lnTo>
                      <a:pt x="128" y="39"/>
                    </a:lnTo>
                    <a:lnTo>
                      <a:pt x="129" y="37"/>
                    </a:lnTo>
                    <a:lnTo>
                      <a:pt x="127" y="34"/>
                    </a:lnTo>
                    <a:lnTo>
                      <a:pt x="125" y="34"/>
                    </a:lnTo>
                    <a:lnTo>
                      <a:pt x="124" y="36"/>
                    </a:lnTo>
                    <a:lnTo>
                      <a:pt x="120" y="34"/>
                    </a:lnTo>
                    <a:lnTo>
                      <a:pt x="118" y="34"/>
                    </a:lnTo>
                    <a:lnTo>
                      <a:pt x="117" y="36"/>
                    </a:lnTo>
                    <a:lnTo>
                      <a:pt x="116" y="37"/>
                    </a:lnTo>
                    <a:lnTo>
                      <a:pt x="114" y="39"/>
                    </a:lnTo>
                    <a:lnTo>
                      <a:pt x="111" y="40"/>
                    </a:lnTo>
                    <a:lnTo>
                      <a:pt x="109" y="41"/>
                    </a:lnTo>
                    <a:lnTo>
                      <a:pt x="106" y="41"/>
                    </a:lnTo>
                    <a:lnTo>
                      <a:pt x="104" y="41"/>
                    </a:lnTo>
                    <a:lnTo>
                      <a:pt x="107" y="40"/>
                    </a:lnTo>
                    <a:lnTo>
                      <a:pt x="106" y="40"/>
                    </a:lnTo>
                    <a:lnTo>
                      <a:pt x="103" y="41"/>
                    </a:lnTo>
                    <a:lnTo>
                      <a:pt x="102" y="43"/>
                    </a:lnTo>
                    <a:lnTo>
                      <a:pt x="102" y="44"/>
                    </a:lnTo>
                    <a:lnTo>
                      <a:pt x="102" y="47"/>
                    </a:lnTo>
                    <a:lnTo>
                      <a:pt x="103" y="48"/>
                    </a:lnTo>
                    <a:lnTo>
                      <a:pt x="104" y="53"/>
                    </a:lnTo>
                    <a:lnTo>
                      <a:pt x="107" y="54"/>
                    </a:lnTo>
                    <a:lnTo>
                      <a:pt x="106" y="57"/>
                    </a:lnTo>
                    <a:lnTo>
                      <a:pt x="106" y="58"/>
                    </a:lnTo>
                    <a:lnTo>
                      <a:pt x="104" y="60"/>
                    </a:lnTo>
                    <a:lnTo>
                      <a:pt x="103" y="58"/>
                    </a:lnTo>
                    <a:lnTo>
                      <a:pt x="102" y="58"/>
                    </a:lnTo>
                    <a:lnTo>
                      <a:pt x="102" y="61"/>
                    </a:lnTo>
                    <a:lnTo>
                      <a:pt x="103" y="68"/>
                    </a:lnTo>
                    <a:lnTo>
                      <a:pt x="104" y="73"/>
                    </a:lnTo>
                    <a:lnTo>
                      <a:pt x="106" y="76"/>
                    </a:lnTo>
                    <a:lnTo>
                      <a:pt x="110" y="79"/>
                    </a:lnTo>
                    <a:lnTo>
                      <a:pt x="114" y="82"/>
                    </a:lnTo>
                    <a:lnTo>
                      <a:pt x="121" y="87"/>
                    </a:lnTo>
                    <a:lnTo>
                      <a:pt x="124" y="89"/>
                    </a:lnTo>
                    <a:lnTo>
                      <a:pt x="125" y="90"/>
                    </a:lnTo>
                    <a:lnTo>
                      <a:pt x="128" y="94"/>
                    </a:lnTo>
                    <a:lnTo>
                      <a:pt x="129" y="100"/>
                    </a:lnTo>
                    <a:lnTo>
                      <a:pt x="132" y="108"/>
                    </a:lnTo>
                    <a:lnTo>
                      <a:pt x="134" y="113"/>
                    </a:lnTo>
                    <a:lnTo>
                      <a:pt x="136" y="117"/>
                    </a:lnTo>
                    <a:lnTo>
                      <a:pt x="143" y="122"/>
                    </a:lnTo>
                    <a:lnTo>
                      <a:pt x="149" y="128"/>
                    </a:lnTo>
                    <a:lnTo>
                      <a:pt x="155" y="131"/>
                    </a:lnTo>
                    <a:lnTo>
                      <a:pt x="159" y="131"/>
                    </a:lnTo>
                    <a:lnTo>
                      <a:pt x="168" y="131"/>
                    </a:lnTo>
                    <a:lnTo>
                      <a:pt x="171" y="131"/>
                    </a:lnTo>
                    <a:lnTo>
                      <a:pt x="173" y="131"/>
                    </a:lnTo>
                    <a:lnTo>
                      <a:pt x="173" y="133"/>
                    </a:lnTo>
                    <a:lnTo>
                      <a:pt x="173" y="135"/>
                    </a:lnTo>
                    <a:lnTo>
                      <a:pt x="170" y="136"/>
                    </a:lnTo>
                    <a:lnTo>
                      <a:pt x="168" y="138"/>
                    </a:lnTo>
                    <a:lnTo>
                      <a:pt x="168" y="140"/>
                    </a:lnTo>
                    <a:lnTo>
                      <a:pt x="170" y="142"/>
                    </a:lnTo>
                    <a:lnTo>
                      <a:pt x="180" y="147"/>
                    </a:lnTo>
                    <a:lnTo>
                      <a:pt x="189" y="152"/>
                    </a:lnTo>
                    <a:lnTo>
                      <a:pt x="194" y="153"/>
                    </a:lnTo>
                    <a:lnTo>
                      <a:pt x="196" y="157"/>
                    </a:lnTo>
                    <a:lnTo>
                      <a:pt x="205" y="161"/>
                    </a:lnTo>
                    <a:lnTo>
                      <a:pt x="207" y="163"/>
                    </a:lnTo>
                    <a:lnTo>
                      <a:pt x="212" y="168"/>
                    </a:lnTo>
                    <a:lnTo>
                      <a:pt x="214" y="171"/>
                    </a:lnTo>
                    <a:lnTo>
                      <a:pt x="214" y="174"/>
                    </a:lnTo>
                    <a:lnTo>
                      <a:pt x="214" y="177"/>
                    </a:lnTo>
                    <a:lnTo>
                      <a:pt x="213" y="179"/>
                    </a:lnTo>
                    <a:lnTo>
                      <a:pt x="213" y="181"/>
                    </a:lnTo>
                    <a:lnTo>
                      <a:pt x="210" y="181"/>
                    </a:lnTo>
                    <a:lnTo>
                      <a:pt x="207" y="178"/>
                    </a:lnTo>
                    <a:lnTo>
                      <a:pt x="203" y="170"/>
                    </a:lnTo>
                    <a:lnTo>
                      <a:pt x="196" y="170"/>
                    </a:lnTo>
                    <a:lnTo>
                      <a:pt x="195" y="168"/>
                    </a:lnTo>
                    <a:lnTo>
                      <a:pt x="192" y="167"/>
                    </a:lnTo>
                    <a:lnTo>
                      <a:pt x="192" y="167"/>
                    </a:lnTo>
                    <a:lnTo>
                      <a:pt x="192" y="165"/>
                    </a:lnTo>
                    <a:lnTo>
                      <a:pt x="191" y="164"/>
                    </a:lnTo>
                    <a:lnTo>
                      <a:pt x="188" y="164"/>
                    </a:lnTo>
                    <a:lnTo>
                      <a:pt x="187" y="165"/>
                    </a:lnTo>
                    <a:lnTo>
                      <a:pt x="184" y="168"/>
                    </a:lnTo>
                    <a:lnTo>
                      <a:pt x="182" y="174"/>
                    </a:lnTo>
                    <a:lnTo>
                      <a:pt x="180" y="179"/>
                    </a:lnTo>
                    <a:lnTo>
                      <a:pt x="180" y="182"/>
                    </a:lnTo>
                    <a:lnTo>
                      <a:pt x="181" y="185"/>
                    </a:lnTo>
                    <a:lnTo>
                      <a:pt x="185" y="186"/>
                    </a:lnTo>
                    <a:lnTo>
                      <a:pt x="188" y="189"/>
                    </a:lnTo>
                    <a:lnTo>
                      <a:pt x="191" y="191"/>
                    </a:lnTo>
                    <a:lnTo>
                      <a:pt x="191" y="198"/>
                    </a:lnTo>
                    <a:lnTo>
                      <a:pt x="191" y="200"/>
                    </a:lnTo>
                    <a:lnTo>
                      <a:pt x="189" y="202"/>
                    </a:lnTo>
                    <a:lnTo>
                      <a:pt x="187" y="202"/>
                    </a:lnTo>
                    <a:lnTo>
                      <a:pt x="184" y="203"/>
                    </a:lnTo>
                    <a:lnTo>
                      <a:pt x="181" y="204"/>
                    </a:lnTo>
                    <a:lnTo>
                      <a:pt x="180" y="207"/>
                    </a:lnTo>
                    <a:lnTo>
                      <a:pt x="180" y="211"/>
                    </a:lnTo>
                    <a:lnTo>
                      <a:pt x="180" y="214"/>
                    </a:lnTo>
                    <a:lnTo>
                      <a:pt x="175" y="217"/>
                    </a:lnTo>
                    <a:lnTo>
                      <a:pt x="173" y="221"/>
                    </a:lnTo>
                    <a:lnTo>
                      <a:pt x="171" y="223"/>
                    </a:lnTo>
                    <a:lnTo>
                      <a:pt x="171" y="224"/>
                    </a:lnTo>
                    <a:lnTo>
                      <a:pt x="164" y="224"/>
                    </a:lnTo>
                    <a:lnTo>
                      <a:pt x="163" y="223"/>
                    </a:lnTo>
                    <a:lnTo>
                      <a:pt x="163" y="220"/>
                    </a:lnTo>
                    <a:lnTo>
                      <a:pt x="164" y="217"/>
                    </a:lnTo>
                    <a:lnTo>
                      <a:pt x="167" y="216"/>
                    </a:lnTo>
                    <a:lnTo>
                      <a:pt x="168" y="211"/>
                    </a:lnTo>
                    <a:lnTo>
                      <a:pt x="167" y="209"/>
                    </a:lnTo>
                    <a:lnTo>
                      <a:pt x="168" y="207"/>
                    </a:lnTo>
                    <a:lnTo>
                      <a:pt x="170" y="207"/>
                    </a:lnTo>
                    <a:lnTo>
                      <a:pt x="171" y="206"/>
                    </a:lnTo>
                    <a:lnTo>
                      <a:pt x="174" y="206"/>
                    </a:lnTo>
                    <a:lnTo>
                      <a:pt x="174" y="202"/>
                    </a:lnTo>
                    <a:lnTo>
                      <a:pt x="171" y="199"/>
                    </a:lnTo>
                    <a:lnTo>
                      <a:pt x="171" y="198"/>
                    </a:lnTo>
                    <a:lnTo>
                      <a:pt x="170" y="192"/>
                    </a:lnTo>
                    <a:lnTo>
                      <a:pt x="167" y="185"/>
                    </a:lnTo>
                    <a:lnTo>
                      <a:pt x="166" y="179"/>
                    </a:lnTo>
                    <a:lnTo>
                      <a:pt x="164" y="177"/>
                    </a:lnTo>
                    <a:lnTo>
                      <a:pt x="163" y="175"/>
                    </a:lnTo>
                    <a:lnTo>
                      <a:pt x="159" y="175"/>
                    </a:lnTo>
                    <a:lnTo>
                      <a:pt x="157" y="175"/>
                    </a:lnTo>
                    <a:lnTo>
                      <a:pt x="150" y="171"/>
                    </a:lnTo>
                    <a:lnTo>
                      <a:pt x="150" y="171"/>
                    </a:lnTo>
                    <a:lnTo>
                      <a:pt x="150" y="170"/>
                    </a:lnTo>
                    <a:lnTo>
                      <a:pt x="152" y="168"/>
                    </a:lnTo>
                    <a:lnTo>
                      <a:pt x="150" y="165"/>
                    </a:lnTo>
                    <a:lnTo>
                      <a:pt x="150" y="164"/>
                    </a:lnTo>
                    <a:lnTo>
                      <a:pt x="149" y="161"/>
                    </a:lnTo>
                    <a:lnTo>
                      <a:pt x="148" y="161"/>
                    </a:lnTo>
                    <a:lnTo>
                      <a:pt x="145" y="161"/>
                    </a:lnTo>
                    <a:lnTo>
                      <a:pt x="143" y="161"/>
                    </a:lnTo>
                    <a:lnTo>
                      <a:pt x="142" y="161"/>
                    </a:lnTo>
                    <a:lnTo>
                      <a:pt x="141" y="163"/>
                    </a:lnTo>
                    <a:lnTo>
                      <a:pt x="139" y="163"/>
                    </a:lnTo>
                    <a:lnTo>
                      <a:pt x="142" y="160"/>
                    </a:lnTo>
                    <a:lnTo>
                      <a:pt x="141" y="158"/>
                    </a:lnTo>
                    <a:lnTo>
                      <a:pt x="139" y="157"/>
                    </a:lnTo>
                    <a:lnTo>
                      <a:pt x="136" y="157"/>
                    </a:lnTo>
                    <a:lnTo>
                      <a:pt x="135" y="157"/>
                    </a:lnTo>
                    <a:lnTo>
                      <a:pt x="135" y="158"/>
                    </a:lnTo>
                    <a:lnTo>
                      <a:pt x="134" y="157"/>
                    </a:lnTo>
                    <a:lnTo>
                      <a:pt x="135" y="156"/>
                    </a:lnTo>
                    <a:lnTo>
                      <a:pt x="131" y="150"/>
                    </a:lnTo>
                    <a:lnTo>
                      <a:pt x="128" y="147"/>
                    </a:lnTo>
                    <a:lnTo>
                      <a:pt x="128" y="147"/>
                    </a:lnTo>
                    <a:lnTo>
                      <a:pt x="125" y="147"/>
                    </a:lnTo>
                    <a:lnTo>
                      <a:pt x="122" y="146"/>
                    </a:lnTo>
                    <a:lnTo>
                      <a:pt x="120" y="146"/>
                    </a:lnTo>
                    <a:lnTo>
                      <a:pt x="118" y="146"/>
                    </a:lnTo>
                    <a:lnTo>
                      <a:pt x="117" y="147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3" y="143"/>
                    </a:lnTo>
                    <a:lnTo>
                      <a:pt x="109" y="142"/>
                    </a:lnTo>
                    <a:lnTo>
                      <a:pt x="102" y="133"/>
                    </a:lnTo>
                    <a:lnTo>
                      <a:pt x="99" y="131"/>
                    </a:lnTo>
                    <a:lnTo>
                      <a:pt x="93" y="126"/>
                    </a:lnTo>
                    <a:lnTo>
                      <a:pt x="90" y="122"/>
                    </a:lnTo>
                    <a:lnTo>
                      <a:pt x="88" y="119"/>
                    </a:lnTo>
                    <a:lnTo>
                      <a:pt x="85" y="118"/>
                    </a:lnTo>
                    <a:lnTo>
                      <a:pt x="83" y="118"/>
                    </a:lnTo>
                    <a:lnTo>
                      <a:pt x="82" y="119"/>
                    </a:lnTo>
                    <a:lnTo>
                      <a:pt x="82" y="119"/>
                    </a:lnTo>
                    <a:lnTo>
                      <a:pt x="81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5"/>
                    </a:lnTo>
                    <a:lnTo>
                      <a:pt x="78" y="111"/>
                    </a:lnTo>
                    <a:lnTo>
                      <a:pt x="75" y="108"/>
                    </a:lnTo>
                    <a:lnTo>
                      <a:pt x="75" y="108"/>
                    </a:lnTo>
                    <a:lnTo>
                      <a:pt x="74" y="107"/>
                    </a:lnTo>
                    <a:lnTo>
                      <a:pt x="74" y="106"/>
                    </a:lnTo>
                    <a:lnTo>
                      <a:pt x="72" y="106"/>
                    </a:lnTo>
                    <a:lnTo>
                      <a:pt x="71" y="106"/>
                    </a:lnTo>
                    <a:lnTo>
                      <a:pt x="70" y="106"/>
                    </a:lnTo>
                    <a:lnTo>
                      <a:pt x="70" y="103"/>
                    </a:lnTo>
                    <a:lnTo>
                      <a:pt x="71" y="101"/>
                    </a:lnTo>
                    <a:lnTo>
                      <a:pt x="71" y="99"/>
                    </a:lnTo>
                    <a:lnTo>
                      <a:pt x="70" y="94"/>
                    </a:lnTo>
                    <a:lnTo>
                      <a:pt x="67" y="92"/>
                    </a:lnTo>
                    <a:lnTo>
                      <a:pt x="65" y="83"/>
                    </a:lnTo>
                    <a:lnTo>
                      <a:pt x="64" y="80"/>
                    </a:lnTo>
                    <a:lnTo>
                      <a:pt x="61" y="79"/>
                    </a:lnTo>
                    <a:lnTo>
                      <a:pt x="56" y="76"/>
                    </a:lnTo>
                    <a:lnTo>
                      <a:pt x="47" y="71"/>
                    </a:lnTo>
                    <a:lnTo>
                      <a:pt x="46" y="71"/>
                    </a:lnTo>
                    <a:lnTo>
                      <a:pt x="42" y="69"/>
                    </a:lnTo>
                    <a:lnTo>
                      <a:pt x="39" y="68"/>
                    </a:lnTo>
                    <a:lnTo>
                      <a:pt x="35" y="71"/>
                    </a:lnTo>
                    <a:lnTo>
                      <a:pt x="29" y="76"/>
                    </a:lnTo>
                    <a:lnTo>
                      <a:pt x="26" y="82"/>
                    </a:lnTo>
                    <a:lnTo>
                      <a:pt x="25" y="82"/>
                    </a:lnTo>
                    <a:lnTo>
                      <a:pt x="19" y="85"/>
                    </a:lnTo>
                    <a:lnTo>
                      <a:pt x="15" y="85"/>
                    </a:lnTo>
                    <a:lnTo>
                      <a:pt x="15" y="83"/>
                    </a:lnTo>
                    <a:lnTo>
                      <a:pt x="15" y="83"/>
                    </a:lnTo>
                    <a:lnTo>
                      <a:pt x="15" y="82"/>
                    </a:lnTo>
                    <a:lnTo>
                      <a:pt x="17" y="80"/>
                    </a:lnTo>
                    <a:lnTo>
                      <a:pt x="18" y="79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7" y="75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0" y="73"/>
                    </a:lnTo>
                    <a:lnTo>
                      <a:pt x="5" y="72"/>
                    </a:lnTo>
                    <a:lnTo>
                      <a:pt x="4" y="71"/>
                    </a:lnTo>
                    <a:lnTo>
                      <a:pt x="4" y="69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7"/>
                    </a:lnTo>
                    <a:lnTo>
                      <a:pt x="4" y="65"/>
                    </a:lnTo>
                    <a:lnTo>
                      <a:pt x="5" y="64"/>
                    </a:lnTo>
                    <a:lnTo>
                      <a:pt x="5" y="62"/>
                    </a:lnTo>
                    <a:lnTo>
                      <a:pt x="7" y="62"/>
                    </a:lnTo>
                    <a:lnTo>
                      <a:pt x="7" y="61"/>
                    </a:lnTo>
                    <a:lnTo>
                      <a:pt x="7" y="58"/>
                    </a:lnTo>
                    <a:lnTo>
                      <a:pt x="5" y="58"/>
                    </a:lnTo>
                    <a:lnTo>
                      <a:pt x="5" y="57"/>
                    </a:lnTo>
                    <a:lnTo>
                      <a:pt x="4" y="57"/>
                    </a:lnTo>
                    <a:lnTo>
                      <a:pt x="3" y="57"/>
                    </a:lnTo>
                    <a:lnTo>
                      <a:pt x="1" y="55"/>
                    </a:lnTo>
                    <a:lnTo>
                      <a:pt x="1" y="54"/>
                    </a:lnTo>
                    <a:lnTo>
                      <a:pt x="1" y="53"/>
                    </a:lnTo>
                    <a:lnTo>
                      <a:pt x="0" y="53"/>
                    </a:lnTo>
                    <a:lnTo>
                      <a:pt x="0" y="51"/>
                    </a:lnTo>
                    <a:lnTo>
                      <a:pt x="1" y="50"/>
                    </a:lnTo>
                    <a:lnTo>
                      <a:pt x="3" y="50"/>
                    </a:lnTo>
                    <a:lnTo>
                      <a:pt x="4" y="50"/>
                    </a:lnTo>
                    <a:lnTo>
                      <a:pt x="5" y="48"/>
                    </a:lnTo>
                    <a:lnTo>
                      <a:pt x="7" y="48"/>
                    </a:lnTo>
                    <a:lnTo>
                      <a:pt x="8" y="47"/>
                    </a:lnTo>
                    <a:lnTo>
                      <a:pt x="8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3"/>
                    </a:lnTo>
                    <a:lnTo>
                      <a:pt x="7" y="41"/>
                    </a:lnTo>
                    <a:lnTo>
                      <a:pt x="5" y="39"/>
                    </a:lnTo>
                    <a:lnTo>
                      <a:pt x="4" y="37"/>
                    </a:lnTo>
                    <a:lnTo>
                      <a:pt x="3" y="36"/>
                    </a:lnTo>
                    <a:lnTo>
                      <a:pt x="3" y="34"/>
                    </a:lnTo>
                    <a:lnTo>
                      <a:pt x="3" y="33"/>
                    </a:lnTo>
                    <a:lnTo>
                      <a:pt x="3" y="33"/>
                    </a:lnTo>
                    <a:lnTo>
                      <a:pt x="5" y="32"/>
                    </a:lnTo>
                    <a:lnTo>
                      <a:pt x="7" y="30"/>
                    </a:lnTo>
                    <a:lnTo>
                      <a:pt x="7" y="30"/>
                    </a:lnTo>
                    <a:lnTo>
                      <a:pt x="8" y="32"/>
                    </a:lnTo>
                    <a:lnTo>
                      <a:pt x="12" y="30"/>
                    </a:lnTo>
                    <a:lnTo>
                      <a:pt x="15" y="29"/>
                    </a:lnTo>
                    <a:lnTo>
                      <a:pt x="17" y="29"/>
                    </a:lnTo>
                    <a:lnTo>
                      <a:pt x="17" y="29"/>
                    </a:lnTo>
                    <a:lnTo>
                      <a:pt x="21" y="30"/>
                    </a:lnTo>
                    <a:lnTo>
                      <a:pt x="22" y="29"/>
                    </a:lnTo>
                    <a:lnTo>
                      <a:pt x="25" y="28"/>
                    </a:lnTo>
                    <a:lnTo>
                      <a:pt x="25" y="26"/>
                    </a:lnTo>
                    <a:lnTo>
                      <a:pt x="26" y="23"/>
                    </a:lnTo>
                    <a:lnTo>
                      <a:pt x="26" y="23"/>
                    </a:lnTo>
                    <a:lnTo>
                      <a:pt x="26" y="22"/>
                    </a:lnTo>
                    <a:lnTo>
                      <a:pt x="26" y="21"/>
                    </a:lnTo>
                    <a:lnTo>
                      <a:pt x="29" y="19"/>
                    </a:lnTo>
                    <a:lnTo>
                      <a:pt x="31" y="18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8"/>
                    </a:lnTo>
                    <a:lnTo>
                      <a:pt x="32" y="21"/>
                    </a:lnTo>
                    <a:lnTo>
                      <a:pt x="33" y="22"/>
                    </a:lnTo>
                    <a:lnTo>
                      <a:pt x="35" y="23"/>
                    </a:lnTo>
                    <a:lnTo>
                      <a:pt x="36" y="25"/>
                    </a:lnTo>
                    <a:lnTo>
                      <a:pt x="39" y="26"/>
                    </a:lnTo>
                    <a:lnTo>
                      <a:pt x="39" y="26"/>
                    </a:lnTo>
                    <a:lnTo>
                      <a:pt x="39" y="28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2" y="33"/>
                    </a:lnTo>
                    <a:lnTo>
                      <a:pt x="43" y="32"/>
                    </a:lnTo>
                    <a:lnTo>
                      <a:pt x="43" y="32"/>
                    </a:lnTo>
                    <a:lnTo>
                      <a:pt x="43" y="30"/>
                    </a:lnTo>
                    <a:lnTo>
                      <a:pt x="43" y="29"/>
                    </a:lnTo>
                    <a:lnTo>
                      <a:pt x="43" y="28"/>
                    </a:lnTo>
                    <a:lnTo>
                      <a:pt x="43" y="26"/>
                    </a:lnTo>
                    <a:lnTo>
                      <a:pt x="44" y="25"/>
                    </a:lnTo>
                    <a:lnTo>
                      <a:pt x="46" y="22"/>
                    </a:lnTo>
                    <a:lnTo>
                      <a:pt x="47" y="21"/>
                    </a:lnTo>
                    <a:lnTo>
                      <a:pt x="47" y="18"/>
                    </a:lnTo>
                    <a:lnTo>
                      <a:pt x="47" y="15"/>
                    </a:lnTo>
                    <a:lnTo>
                      <a:pt x="49" y="15"/>
                    </a:lnTo>
                    <a:lnTo>
                      <a:pt x="50" y="15"/>
                    </a:lnTo>
                    <a:lnTo>
                      <a:pt x="50" y="15"/>
                    </a:lnTo>
                    <a:lnTo>
                      <a:pt x="50" y="16"/>
                    </a:lnTo>
                    <a:lnTo>
                      <a:pt x="51" y="19"/>
                    </a:lnTo>
                    <a:lnTo>
                      <a:pt x="53" y="21"/>
                    </a:lnTo>
                    <a:lnTo>
                      <a:pt x="53" y="21"/>
                    </a:lnTo>
                    <a:lnTo>
                      <a:pt x="54" y="21"/>
                    </a:lnTo>
                    <a:lnTo>
                      <a:pt x="57" y="19"/>
                    </a:lnTo>
                    <a:lnTo>
                      <a:pt x="58" y="18"/>
                    </a:lnTo>
                    <a:lnTo>
                      <a:pt x="60" y="19"/>
                    </a:lnTo>
                    <a:lnTo>
                      <a:pt x="60" y="19"/>
                    </a:lnTo>
                    <a:lnTo>
                      <a:pt x="61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4" y="22"/>
                    </a:lnTo>
                    <a:lnTo>
                      <a:pt x="63" y="21"/>
                    </a:lnTo>
                    <a:lnTo>
                      <a:pt x="63" y="19"/>
                    </a:lnTo>
                    <a:lnTo>
                      <a:pt x="63" y="16"/>
                    </a:lnTo>
                    <a:lnTo>
                      <a:pt x="61" y="16"/>
                    </a:lnTo>
                    <a:lnTo>
                      <a:pt x="61" y="15"/>
                    </a:lnTo>
                    <a:lnTo>
                      <a:pt x="63" y="14"/>
                    </a:lnTo>
                    <a:lnTo>
                      <a:pt x="63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5" y="14"/>
                    </a:lnTo>
                    <a:lnTo>
                      <a:pt x="67" y="14"/>
                    </a:lnTo>
                    <a:lnTo>
                      <a:pt x="68" y="14"/>
                    </a:lnTo>
                    <a:lnTo>
                      <a:pt x="70" y="12"/>
                    </a:lnTo>
                    <a:lnTo>
                      <a:pt x="68" y="12"/>
                    </a:lnTo>
                    <a:lnTo>
                      <a:pt x="68" y="11"/>
                    </a:lnTo>
                    <a:lnTo>
                      <a:pt x="68" y="9"/>
                    </a:lnTo>
                    <a:lnTo>
                      <a:pt x="70" y="5"/>
                    </a:lnTo>
                    <a:lnTo>
                      <a:pt x="70" y="5"/>
                    </a:lnTo>
                    <a:lnTo>
                      <a:pt x="71" y="5"/>
                    </a:lnTo>
                    <a:lnTo>
                      <a:pt x="74" y="5"/>
                    </a:lnTo>
                    <a:lnTo>
                      <a:pt x="75" y="7"/>
                    </a:lnTo>
                    <a:lnTo>
                      <a:pt x="77" y="8"/>
                    </a:lnTo>
                    <a:lnTo>
                      <a:pt x="78" y="8"/>
                    </a:lnTo>
                    <a:lnTo>
                      <a:pt x="79" y="8"/>
                    </a:lnTo>
                    <a:lnTo>
                      <a:pt x="79" y="7"/>
                    </a:lnTo>
                    <a:lnTo>
                      <a:pt x="81" y="5"/>
                    </a:lnTo>
                    <a:lnTo>
                      <a:pt x="82" y="4"/>
                    </a:lnTo>
                    <a:lnTo>
                      <a:pt x="83" y="2"/>
                    </a:lnTo>
                    <a:lnTo>
                      <a:pt x="86" y="2"/>
                    </a:lnTo>
                    <a:lnTo>
                      <a:pt x="89" y="2"/>
                    </a:lnTo>
                    <a:lnTo>
                      <a:pt x="90" y="2"/>
                    </a:lnTo>
                    <a:lnTo>
                      <a:pt x="92" y="2"/>
                    </a:lnTo>
                    <a:lnTo>
                      <a:pt x="93" y="2"/>
                    </a:lnTo>
                    <a:lnTo>
                      <a:pt x="96" y="1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1"/>
                    </a:lnTo>
                    <a:lnTo>
                      <a:pt x="100" y="2"/>
                    </a:lnTo>
                    <a:lnTo>
                      <a:pt x="100" y="4"/>
                    </a:lnTo>
                    <a:lnTo>
                      <a:pt x="102" y="7"/>
                    </a:lnTo>
                    <a:lnTo>
                      <a:pt x="103" y="8"/>
                    </a:lnTo>
                    <a:lnTo>
                      <a:pt x="104" y="9"/>
                    </a:lnTo>
                    <a:lnTo>
                      <a:pt x="106" y="11"/>
                    </a:lnTo>
                    <a:lnTo>
                      <a:pt x="109" y="11"/>
                    </a:lnTo>
                    <a:lnTo>
                      <a:pt x="110" y="11"/>
                    </a:lnTo>
                    <a:lnTo>
                      <a:pt x="111" y="12"/>
                    </a:lnTo>
                    <a:lnTo>
                      <a:pt x="118" y="14"/>
                    </a:lnTo>
                    <a:lnTo>
                      <a:pt x="121" y="14"/>
                    </a:lnTo>
                    <a:lnTo>
                      <a:pt x="124" y="14"/>
                    </a:lnTo>
                    <a:lnTo>
                      <a:pt x="128" y="15"/>
                    </a:lnTo>
                    <a:close/>
                    <a:moveTo>
                      <a:pt x="106" y="82"/>
                    </a:moveTo>
                    <a:lnTo>
                      <a:pt x="107" y="80"/>
                    </a:lnTo>
                    <a:lnTo>
                      <a:pt x="106" y="79"/>
                    </a:lnTo>
                    <a:lnTo>
                      <a:pt x="106" y="79"/>
                    </a:lnTo>
                    <a:lnTo>
                      <a:pt x="104" y="80"/>
                    </a:lnTo>
                    <a:lnTo>
                      <a:pt x="104" y="82"/>
                    </a:lnTo>
                    <a:lnTo>
                      <a:pt x="106" y="82"/>
                    </a:lnTo>
                    <a:close/>
                    <a:moveTo>
                      <a:pt x="106" y="131"/>
                    </a:moveTo>
                    <a:lnTo>
                      <a:pt x="106" y="131"/>
                    </a:lnTo>
                    <a:lnTo>
                      <a:pt x="104" y="131"/>
                    </a:lnTo>
                    <a:lnTo>
                      <a:pt x="104" y="131"/>
                    </a:lnTo>
                    <a:lnTo>
                      <a:pt x="104" y="131"/>
                    </a:lnTo>
                    <a:lnTo>
                      <a:pt x="106" y="131"/>
                    </a:lnTo>
                    <a:close/>
                    <a:moveTo>
                      <a:pt x="68" y="108"/>
                    </a:moveTo>
                    <a:lnTo>
                      <a:pt x="68" y="108"/>
                    </a:lnTo>
                    <a:lnTo>
                      <a:pt x="68" y="110"/>
                    </a:lnTo>
                    <a:lnTo>
                      <a:pt x="68" y="110"/>
                    </a:lnTo>
                    <a:lnTo>
                      <a:pt x="68" y="111"/>
                    </a:lnTo>
                    <a:lnTo>
                      <a:pt x="67" y="110"/>
                    </a:lnTo>
                    <a:lnTo>
                      <a:pt x="64" y="111"/>
                    </a:lnTo>
                    <a:lnTo>
                      <a:pt x="63" y="111"/>
                    </a:lnTo>
                    <a:lnTo>
                      <a:pt x="63" y="110"/>
                    </a:lnTo>
                    <a:lnTo>
                      <a:pt x="63" y="108"/>
                    </a:lnTo>
                    <a:lnTo>
                      <a:pt x="65" y="108"/>
                    </a:lnTo>
                    <a:lnTo>
                      <a:pt x="65" y="108"/>
                    </a:lnTo>
                    <a:lnTo>
                      <a:pt x="67" y="108"/>
                    </a:lnTo>
                    <a:lnTo>
                      <a:pt x="68" y="108"/>
                    </a:lnTo>
                    <a:close/>
                    <a:moveTo>
                      <a:pt x="54" y="156"/>
                    </a:moveTo>
                    <a:lnTo>
                      <a:pt x="56" y="157"/>
                    </a:lnTo>
                    <a:lnTo>
                      <a:pt x="57" y="164"/>
                    </a:lnTo>
                    <a:lnTo>
                      <a:pt x="57" y="165"/>
                    </a:lnTo>
                    <a:lnTo>
                      <a:pt x="57" y="167"/>
                    </a:lnTo>
                    <a:lnTo>
                      <a:pt x="57" y="167"/>
                    </a:lnTo>
                    <a:lnTo>
                      <a:pt x="54" y="170"/>
                    </a:lnTo>
                    <a:lnTo>
                      <a:pt x="54" y="172"/>
                    </a:lnTo>
                    <a:lnTo>
                      <a:pt x="56" y="174"/>
                    </a:lnTo>
                    <a:lnTo>
                      <a:pt x="56" y="177"/>
                    </a:lnTo>
                    <a:lnTo>
                      <a:pt x="56" y="178"/>
                    </a:lnTo>
                    <a:lnTo>
                      <a:pt x="54" y="192"/>
                    </a:lnTo>
                    <a:lnTo>
                      <a:pt x="53" y="195"/>
                    </a:lnTo>
                    <a:lnTo>
                      <a:pt x="53" y="196"/>
                    </a:lnTo>
                    <a:lnTo>
                      <a:pt x="51" y="198"/>
                    </a:lnTo>
                    <a:lnTo>
                      <a:pt x="50" y="196"/>
                    </a:lnTo>
                    <a:lnTo>
                      <a:pt x="47" y="195"/>
                    </a:lnTo>
                    <a:lnTo>
                      <a:pt x="46" y="195"/>
                    </a:lnTo>
                    <a:lnTo>
                      <a:pt x="46" y="196"/>
                    </a:lnTo>
                    <a:lnTo>
                      <a:pt x="44" y="195"/>
                    </a:lnTo>
                    <a:lnTo>
                      <a:pt x="43" y="195"/>
                    </a:lnTo>
                    <a:lnTo>
                      <a:pt x="43" y="199"/>
                    </a:lnTo>
                    <a:lnTo>
                      <a:pt x="42" y="200"/>
                    </a:lnTo>
                    <a:lnTo>
                      <a:pt x="40" y="202"/>
                    </a:lnTo>
                    <a:lnTo>
                      <a:pt x="39" y="202"/>
                    </a:lnTo>
                    <a:lnTo>
                      <a:pt x="38" y="202"/>
                    </a:lnTo>
                    <a:lnTo>
                      <a:pt x="36" y="202"/>
                    </a:lnTo>
                    <a:lnTo>
                      <a:pt x="35" y="200"/>
                    </a:lnTo>
                    <a:lnTo>
                      <a:pt x="35" y="199"/>
                    </a:lnTo>
                    <a:lnTo>
                      <a:pt x="33" y="198"/>
                    </a:lnTo>
                    <a:lnTo>
                      <a:pt x="32" y="195"/>
                    </a:lnTo>
                    <a:lnTo>
                      <a:pt x="32" y="193"/>
                    </a:lnTo>
                    <a:lnTo>
                      <a:pt x="32" y="189"/>
                    </a:lnTo>
                    <a:lnTo>
                      <a:pt x="32" y="188"/>
                    </a:lnTo>
                    <a:lnTo>
                      <a:pt x="32" y="186"/>
                    </a:lnTo>
                    <a:lnTo>
                      <a:pt x="33" y="185"/>
                    </a:lnTo>
                    <a:lnTo>
                      <a:pt x="33" y="184"/>
                    </a:lnTo>
                    <a:lnTo>
                      <a:pt x="33" y="182"/>
                    </a:lnTo>
                    <a:lnTo>
                      <a:pt x="33" y="184"/>
                    </a:lnTo>
                    <a:lnTo>
                      <a:pt x="35" y="184"/>
                    </a:lnTo>
                    <a:lnTo>
                      <a:pt x="35" y="182"/>
                    </a:lnTo>
                    <a:lnTo>
                      <a:pt x="35" y="181"/>
                    </a:lnTo>
                    <a:lnTo>
                      <a:pt x="33" y="179"/>
                    </a:lnTo>
                    <a:lnTo>
                      <a:pt x="32" y="178"/>
                    </a:lnTo>
                    <a:lnTo>
                      <a:pt x="32" y="177"/>
                    </a:lnTo>
                    <a:lnTo>
                      <a:pt x="32" y="175"/>
                    </a:lnTo>
                    <a:lnTo>
                      <a:pt x="33" y="175"/>
                    </a:lnTo>
                    <a:lnTo>
                      <a:pt x="33" y="174"/>
                    </a:lnTo>
                    <a:lnTo>
                      <a:pt x="33" y="170"/>
                    </a:lnTo>
                    <a:lnTo>
                      <a:pt x="32" y="168"/>
                    </a:lnTo>
                    <a:lnTo>
                      <a:pt x="32" y="165"/>
                    </a:lnTo>
                    <a:lnTo>
                      <a:pt x="31" y="164"/>
                    </a:lnTo>
                    <a:lnTo>
                      <a:pt x="31" y="164"/>
                    </a:lnTo>
                    <a:lnTo>
                      <a:pt x="29" y="163"/>
                    </a:lnTo>
                    <a:lnTo>
                      <a:pt x="28" y="161"/>
                    </a:lnTo>
                    <a:lnTo>
                      <a:pt x="28" y="158"/>
                    </a:lnTo>
                    <a:lnTo>
                      <a:pt x="28" y="156"/>
                    </a:lnTo>
                    <a:lnTo>
                      <a:pt x="29" y="154"/>
                    </a:lnTo>
                    <a:lnTo>
                      <a:pt x="29" y="156"/>
                    </a:lnTo>
                    <a:lnTo>
                      <a:pt x="31" y="156"/>
                    </a:lnTo>
                    <a:lnTo>
                      <a:pt x="31" y="157"/>
                    </a:lnTo>
                    <a:lnTo>
                      <a:pt x="33" y="157"/>
                    </a:lnTo>
                    <a:lnTo>
                      <a:pt x="35" y="157"/>
                    </a:lnTo>
                    <a:lnTo>
                      <a:pt x="38" y="156"/>
                    </a:lnTo>
                    <a:lnTo>
                      <a:pt x="39" y="154"/>
                    </a:lnTo>
                    <a:lnTo>
                      <a:pt x="43" y="150"/>
                    </a:lnTo>
                    <a:lnTo>
                      <a:pt x="44" y="149"/>
                    </a:lnTo>
                    <a:lnTo>
                      <a:pt x="46" y="149"/>
                    </a:lnTo>
                    <a:lnTo>
                      <a:pt x="46" y="147"/>
                    </a:lnTo>
                    <a:lnTo>
                      <a:pt x="47" y="147"/>
                    </a:lnTo>
                    <a:lnTo>
                      <a:pt x="47" y="147"/>
                    </a:lnTo>
                    <a:lnTo>
                      <a:pt x="49" y="149"/>
                    </a:lnTo>
                    <a:lnTo>
                      <a:pt x="51" y="149"/>
                    </a:lnTo>
                    <a:lnTo>
                      <a:pt x="51" y="150"/>
                    </a:lnTo>
                    <a:lnTo>
                      <a:pt x="53" y="152"/>
                    </a:lnTo>
                    <a:lnTo>
                      <a:pt x="53" y="152"/>
                    </a:lnTo>
                    <a:lnTo>
                      <a:pt x="54" y="153"/>
                    </a:lnTo>
                    <a:lnTo>
                      <a:pt x="54" y="153"/>
                    </a:lnTo>
                    <a:lnTo>
                      <a:pt x="53" y="153"/>
                    </a:lnTo>
                    <a:lnTo>
                      <a:pt x="53" y="154"/>
                    </a:lnTo>
                    <a:lnTo>
                      <a:pt x="53" y="154"/>
                    </a:lnTo>
                    <a:lnTo>
                      <a:pt x="54" y="156"/>
                    </a:lnTo>
                    <a:close/>
                    <a:moveTo>
                      <a:pt x="29" y="152"/>
                    </a:moveTo>
                    <a:lnTo>
                      <a:pt x="29" y="153"/>
                    </a:lnTo>
                    <a:lnTo>
                      <a:pt x="28" y="153"/>
                    </a:lnTo>
                    <a:lnTo>
                      <a:pt x="29" y="152"/>
                    </a:lnTo>
                    <a:lnTo>
                      <a:pt x="29" y="150"/>
                    </a:lnTo>
                    <a:lnTo>
                      <a:pt x="31" y="150"/>
                    </a:lnTo>
                    <a:lnTo>
                      <a:pt x="31" y="150"/>
                    </a:lnTo>
                    <a:lnTo>
                      <a:pt x="31" y="152"/>
                    </a:lnTo>
                    <a:lnTo>
                      <a:pt x="29" y="152"/>
                    </a:lnTo>
                    <a:close/>
                    <a:moveTo>
                      <a:pt x="132" y="160"/>
                    </a:moveTo>
                    <a:lnTo>
                      <a:pt x="131" y="160"/>
                    </a:lnTo>
                    <a:lnTo>
                      <a:pt x="131" y="160"/>
                    </a:lnTo>
                    <a:lnTo>
                      <a:pt x="131" y="160"/>
                    </a:lnTo>
                    <a:lnTo>
                      <a:pt x="131" y="158"/>
                    </a:lnTo>
                    <a:lnTo>
                      <a:pt x="132" y="158"/>
                    </a:lnTo>
                    <a:lnTo>
                      <a:pt x="132" y="160"/>
                    </a:lnTo>
                    <a:lnTo>
                      <a:pt x="132" y="160"/>
                    </a:lnTo>
                    <a:close/>
                    <a:moveTo>
                      <a:pt x="33" y="199"/>
                    </a:moveTo>
                    <a:lnTo>
                      <a:pt x="32" y="200"/>
                    </a:lnTo>
                    <a:lnTo>
                      <a:pt x="31" y="199"/>
                    </a:lnTo>
                    <a:lnTo>
                      <a:pt x="31" y="198"/>
                    </a:lnTo>
                    <a:lnTo>
                      <a:pt x="31" y="198"/>
                    </a:lnTo>
                    <a:lnTo>
                      <a:pt x="32" y="198"/>
                    </a:lnTo>
                    <a:lnTo>
                      <a:pt x="33" y="199"/>
                    </a:lnTo>
                    <a:close/>
                    <a:moveTo>
                      <a:pt x="162" y="218"/>
                    </a:moveTo>
                    <a:lnTo>
                      <a:pt x="162" y="221"/>
                    </a:lnTo>
                    <a:lnTo>
                      <a:pt x="160" y="221"/>
                    </a:lnTo>
                    <a:lnTo>
                      <a:pt x="156" y="228"/>
                    </a:lnTo>
                    <a:lnTo>
                      <a:pt x="156" y="230"/>
                    </a:lnTo>
                    <a:lnTo>
                      <a:pt x="155" y="231"/>
                    </a:lnTo>
                    <a:lnTo>
                      <a:pt x="155" y="232"/>
                    </a:lnTo>
                    <a:lnTo>
                      <a:pt x="155" y="234"/>
                    </a:lnTo>
                    <a:lnTo>
                      <a:pt x="153" y="235"/>
                    </a:lnTo>
                    <a:lnTo>
                      <a:pt x="153" y="238"/>
                    </a:lnTo>
                    <a:lnTo>
                      <a:pt x="153" y="238"/>
                    </a:lnTo>
                    <a:lnTo>
                      <a:pt x="155" y="239"/>
                    </a:lnTo>
                    <a:lnTo>
                      <a:pt x="155" y="239"/>
                    </a:lnTo>
                    <a:lnTo>
                      <a:pt x="156" y="241"/>
                    </a:lnTo>
                    <a:lnTo>
                      <a:pt x="155" y="241"/>
                    </a:lnTo>
                    <a:lnTo>
                      <a:pt x="156" y="244"/>
                    </a:lnTo>
                    <a:lnTo>
                      <a:pt x="157" y="244"/>
                    </a:lnTo>
                    <a:lnTo>
                      <a:pt x="157" y="245"/>
                    </a:lnTo>
                    <a:lnTo>
                      <a:pt x="157" y="246"/>
                    </a:lnTo>
                    <a:lnTo>
                      <a:pt x="155" y="248"/>
                    </a:lnTo>
                    <a:lnTo>
                      <a:pt x="155" y="249"/>
                    </a:lnTo>
                    <a:lnTo>
                      <a:pt x="153" y="249"/>
                    </a:lnTo>
                    <a:lnTo>
                      <a:pt x="153" y="250"/>
                    </a:lnTo>
                    <a:lnTo>
                      <a:pt x="153" y="252"/>
                    </a:lnTo>
                    <a:lnTo>
                      <a:pt x="153" y="253"/>
                    </a:lnTo>
                    <a:lnTo>
                      <a:pt x="152" y="253"/>
                    </a:lnTo>
                    <a:lnTo>
                      <a:pt x="149" y="252"/>
                    </a:lnTo>
                    <a:lnTo>
                      <a:pt x="148" y="252"/>
                    </a:lnTo>
                    <a:lnTo>
                      <a:pt x="145" y="252"/>
                    </a:lnTo>
                    <a:lnTo>
                      <a:pt x="143" y="250"/>
                    </a:lnTo>
                    <a:lnTo>
                      <a:pt x="142" y="250"/>
                    </a:lnTo>
                    <a:lnTo>
                      <a:pt x="141" y="246"/>
                    </a:lnTo>
                    <a:lnTo>
                      <a:pt x="138" y="245"/>
                    </a:lnTo>
                    <a:lnTo>
                      <a:pt x="136" y="244"/>
                    </a:lnTo>
                    <a:lnTo>
                      <a:pt x="134" y="244"/>
                    </a:lnTo>
                    <a:lnTo>
                      <a:pt x="132" y="244"/>
                    </a:lnTo>
                    <a:lnTo>
                      <a:pt x="129" y="244"/>
                    </a:lnTo>
                    <a:lnTo>
                      <a:pt x="127" y="241"/>
                    </a:lnTo>
                    <a:lnTo>
                      <a:pt x="122" y="238"/>
                    </a:lnTo>
                    <a:lnTo>
                      <a:pt x="120" y="237"/>
                    </a:lnTo>
                    <a:lnTo>
                      <a:pt x="120" y="235"/>
                    </a:lnTo>
                    <a:lnTo>
                      <a:pt x="118" y="235"/>
                    </a:lnTo>
                    <a:lnTo>
                      <a:pt x="116" y="235"/>
                    </a:lnTo>
                    <a:lnTo>
                      <a:pt x="114" y="232"/>
                    </a:lnTo>
                    <a:lnTo>
                      <a:pt x="113" y="232"/>
                    </a:lnTo>
                    <a:lnTo>
                      <a:pt x="111" y="234"/>
                    </a:lnTo>
                    <a:lnTo>
                      <a:pt x="110" y="232"/>
                    </a:lnTo>
                    <a:lnTo>
                      <a:pt x="109" y="232"/>
                    </a:lnTo>
                    <a:lnTo>
                      <a:pt x="107" y="231"/>
                    </a:lnTo>
                    <a:lnTo>
                      <a:pt x="106" y="228"/>
                    </a:lnTo>
                    <a:lnTo>
                      <a:pt x="106" y="227"/>
                    </a:lnTo>
                    <a:lnTo>
                      <a:pt x="106" y="224"/>
                    </a:lnTo>
                    <a:lnTo>
                      <a:pt x="107" y="223"/>
                    </a:lnTo>
                    <a:lnTo>
                      <a:pt x="109" y="221"/>
                    </a:lnTo>
                    <a:lnTo>
                      <a:pt x="109" y="221"/>
                    </a:lnTo>
                    <a:lnTo>
                      <a:pt x="110" y="220"/>
                    </a:lnTo>
                    <a:lnTo>
                      <a:pt x="110" y="218"/>
                    </a:lnTo>
                    <a:lnTo>
                      <a:pt x="113" y="221"/>
                    </a:lnTo>
                    <a:lnTo>
                      <a:pt x="114" y="223"/>
                    </a:lnTo>
                    <a:lnTo>
                      <a:pt x="114" y="223"/>
                    </a:lnTo>
                    <a:lnTo>
                      <a:pt x="116" y="221"/>
                    </a:lnTo>
                    <a:lnTo>
                      <a:pt x="117" y="220"/>
                    </a:lnTo>
                    <a:lnTo>
                      <a:pt x="118" y="218"/>
                    </a:lnTo>
                    <a:lnTo>
                      <a:pt x="121" y="218"/>
                    </a:lnTo>
                    <a:lnTo>
                      <a:pt x="121" y="218"/>
                    </a:lnTo>
                    <a:lnTo>
                      <a:pt x="122" y="220"/>
                    </a:lnTo>
                    <a:lnTo>
                      <a:pt x="124" y="221"/>
                    </a:lnTo>
                    <a:lnTo>
                      <a:pt x="124" y="221"/>
                    </a:lnTo>
                    <a:lnTo>
                      <a:pt x="128" y="223"/>
                    </a:lnTo>
                    <a:lnTo>
                      <a:pt x="128" y="224"/>
                    </a:lnTo>
                    <a:lnTo>
                      <a:pt x="129" y="224"/>
                    </a:lnTo>
                    <a:lnTo>
                      <a:pt x="132" y="223"/>
                    </a:lnTo>
                    <a:lnTo>
                      <a:pt x="135" y="223"/>
                    </a:lnTo>
                    <a:lnTo>
                      <a:pt x="139" y="223"/>
                    </a:lnTo>
                    <a:lnTo>
                      <a:pt x="141" y="223"/>
                    </a:lnTo>
                    <a:lnTo>
                      <a:pt x="142" y="223"/>
                    </a:lnTo>
                    <a:lnTo>
                      <a:pt x="145" y="221"/>
                    </a:lnTo>
                    <a:lnTo>
                      <a:pt x="146" y="220"/>
                    </a:lnTo>
                    <a:lnTo>
                      <a:pt x="148" y="220"/>
                    </a:lnTo>
                    <a:lnTo>
                      <a:pt x="149" y="220"/>
                    </a:lnTo>
                    <a:lnTo>
                      <a:pt x="152" y="220"/>
                    </a:lnTo>
                    <a:lnTo>
                      <a:pt x="153" y="220"/>
                    </a:lnTo>
                    <a:lnTo>
                      <a:pt x="155" y="220"/>
                    </a:lnTo>
                    <a:lnTo>
                      <a:pt x="156" y="218"/>
                    </a:lnTo>
                    <a:lnTo>
                      <a:pt x="157" y="218"/>
                    </a:lnTo>
                    <a:lnTo>
                      <a:pt x="157" y="218"/>
                    </a:lnTo>
                    <a:lnTo>
                      <a:pt x="160" y="217"/>
                    </a:lnTo>
                    <a:lnTo>
                      <a:pt x="162" y="217"/>
                    </a:lnTo>
                    <a:lnTo>
                      <a:pt x="163" y="217"/>
                    </a:lnTo>
                    <a:lnTo>
                      <a:pt x="162" y="218"/>
                    </a:lnTo>
                    <a:close/>
                    <a:moveTo>
                      <a:pt x="97" y="252"/>
                    </a:moveTo>
                    <a:lnTo>
                      <a:pt x="97" y="252"/>
                    </a:lnTo>
                    <a:lnTo>
                      <a:pt x="96" y="250"/>
                    </a:lnTo>
                    <a:lnTo>
                      <a:pt x="96" y="250"/>
                    </a:lnTo>
                    <a:lnTo>
                      <a:pt x="96" y="249"/>
                    </a:lnTo>
                    <a:lnTo>
                      <a:pt x="97" y="250"/>
                    </a:lnTo>
                    <a:lnTo>
                      <a:pt x="97" y="250"/>
                    </a:lnTo>
                    <a:lnTo>
                      <a:pt x="97" y="252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79" name="Jersey">
                <a:extLst>
                  <a:ext uri="{FF2B5EF4-FFF2-40B4-BE49-F238E27FC236}">
                    <a16:creationId xmlns:a16="http://schemas.microsoft.com/office/drawing/2014/main" id="{4117342B-6774-B80B-3CE4-A4CEC13D96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4007" y="2724668"/>
                <a:ext cx="3128" cy="2347"/>
              </a:xfrm>
              <a:custGeom>
                <a:avLst/>
                <a:gdLst>
                  <a:gd name="T0" fmla="*/ 4 w 4"/>
                  <a:gd name="T1" fmla="*/ 1 h 3"/>
                  <a:gd name="T2" fmla="*/ 4 w 4"/>
                  <a:gd name="T3" fmla="*/ 3 h 3"/>
                  <a:gd name="T4" fmla="*/ 4 w 4"/>
                  <a:gd name="T5" fmla="*/ 3 h 3"/>
                  <a:gd name="T6" fmla="*/ 3 w 4"/>
                  <a:gd name="T7" fmla="*/ 3 h 3"/>
                  <a:gd name="T8" fmla="*/ 2 w 4"/>
                  <a:gd name="T9" fmla="*/ 3 h 3"/>
                  <a:gd name="T10" fmla="*/ 0 w 4"/>
                  <a:gd name="T11" fmla="*/ 3 h 3"/>
                  <a:gd name="T12" fmla="*/ 0 w 4"/>
                  <a:gd name="T13" fmla="*/ 0 h 3"/>
                  <a:gd name="T14" fmla="*/ 3 w 4"/>
                  <a:gd name="T15" fmla="*/ 1 h 3"/>
                  <a:gd name="T16" fmla="*/ 4 w 4"/>
                  <a:gd name="T17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3">
                    <a:moveTo>
                      <a:pt x="4" y="1"/>
                    </a:moveTo>
                    <a:lnTo>
                      <a:pt x="4" y="3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1"/>
                    </a:lnTo>
                    <a:lnTo>
                      <a:pt x="4" y="1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338" name="Kosovo">
                <a:extLst>
                  <a:ext uri="{FF2B5EF4-FFF2-40B4-BE49-F238E27FC236}">
                    <a16:creationId xmlns:a16="http://schemas.microsoft.com/office/drawing/2014/main" id="{24F6AC7F-4341-6CEA-1DFF-F5641452C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9973" y="2847458"/>
                <a:ext cx="25027" cy="27373"/>
              </a:xfrm>
              <a:custGeom>
                <a:avLst/>
                <a:gdLst>
                  <a:gd name="T0" fmla="*/ 28 w 32"/>
                  <a:gd name="T1" fmla="*/ 25 h 35"/>
                  <a:gd name="T2" fmla="*/ 24 w 32"/>
                  <a:gd name="T3" fmla="*/ 27 h 35"/>
                  <a:gd name="T4" fmla="*/ 24 w 32"/>
                  <a:gd name="T5" fmla="*/ 29 h 35"/>
                  <a:gd name="T6" fmla="*/ 23 w 32"/>
                  <a:gd name="T7" fmla="*/ 28 h 35"/>
                  <a:gd name="T8" fmla="*/ 20 w 32"/>
                  <a:gd name="T9" fmla="*/ 28 h 35"/>
                  <a:gd name="T10" fmla="*/ 14 w 32"/>
                  <a:gd name="T11" fmla="*/ 31 h 35"/>
                  <a:gd name="T12" fmla="*/ 14 w 32"/>
                  <a:gd name="T13" fmla="*/ 35 h 35"/>
                  <a:gd name="T14" fmla="*/ 11 w 32"/>
                  <a:gd name="T15" fmla="*/ 35 h 35"/>
                  <a:gd name="T16" fmla="*/ 11 w 32"/>
                  <a:gd name="T17" fmla="*/ 34 h 35"/>
                  <a:gd name="T18" fmla="*/ 10 w 32"/>
                  <a:gd name="T19" fmla="*/ 28 h 35"/>
                  <a:gd name="T20" fmla="*/ 7 w 32"/>
                  <a:gd name="T21" fmla="*/ 25 h 35"/>
                  <a:gd name="T22" fmla="*/ 4 w 32"/>
                  <a:gd name="T23" fmla="*/ 24 h 35"/>
                  <a:gd name="T24" fmla="*/ 2 w 32"/>
                  <a:gd name="T25" fmla="*/ 18 h 35"/>
                  <a:gd name="T26" fmla="*/ 2 w 32"/>
                  <a:gd name="T27" fmla="*/ 18 h 35"/>
                  <a:gd name="T28" fmla="*/ 2 w 32"/>
                  <a:gd name="T29" fmla="*/ 16 h 35"/>
                  <a:gd name="T30" fmla="*/ 2 w 32"/>
                  <a:gd name="T31" fmla="*/ 13 h 35"/>
                  <a:gd name="T32" fmla="*/ 4 w 32"/>
                  <a:gd name="T33" fmla="*/ 13 h 35"/>
                  <a:gd name="T34" fmla="*/ 7 w 32"/>
                  <a:gd name="T35" fmla="*/ 11 h 35"/>
                  <a:gd name="T36" fmla="*/ 9 w 32"/>
                  <a:gd name="T37" fmla="*/ 10 h 35"/>
                  <a:gd name="T38" fmla="*/ 9 w 32"/>
                  <a:gd name="T39" fmla="*/ 9 h 35"/>
                  <a:gd name="T40" fmla="*/ 13 w 32"/>
                  <a:gd name="T41" fmla="*/ 6 h 35"/>
                  <a:gd name="T42" fmla="*/ 11 w 32"/>
                  <a:gd name="T43" fmla="*/ 4 h 35"/>
                  <a:gd name="T44" fmla="*/ 11 w 32"/>
                  <a:gd name="T45" fmla="*/ 2 h 35"/>
                  <a:gd name="T46" fmla="*/ 14 w 32"/>
                  <a:gd name="T47" fmla="*/ 0 h 35"/>
                  <a:gd name="T48" fmla="*/ 16 w 32"/>
                  <a:gd name="T49" fmla="*/ 2 h 35"/>
                  <a:gd name="T50" fmla="*/ 16 w 32"/>
                  <a:gd name="T51" fmla="*/ 3 h 35"/>
                  <a:gd name="T52" fmla="*/ 18 w 32"/>
                  <a:gd name="T53" fmla="*/ 4 h 35"/>
                  <a:gd name="T54" fmla="*/ 21 w 32"/>
                  <a:gd name="T55" fmla="*/ 6 h 35"/>
                  <a:gd name="T56" fmla="*/ 23 w 32"/>
                  <a:gd name="T57" fmla="*/ 10 h 35"/>
                  <a:gd name="T58" fmla="*/ 25 w 32"/>
                  <a:gd name="T59" fmla="*/ 11 h 35"/>
                  <a:gd name="T60" fmla="*/ 31 w 32"/>
                  <a:gd name="T61" fmla="*/ 16 h 35"/>
                  <a:gd name="T62" fmla="*/ 32 w 32"/>
                  <a:gd name="T63" fmla="*/ 16 h 35"/>
                  <a:gd name="T64" fmla="*/ 32 w 32"/>
                  <a:gd name="T65" fmla="*/ 17 h 35"/>
                  <a:gd name="T66" fmla="*/ 30 w 32"/>
                  <a:gd name="T67" fmla="*/ 22 h 35"/>
                  <a:gd name="T68" fmla="*/ 28 w 32"/>
                  <a:gd name="T69" fmla="*/ 24 h 35"/>
                  <a:gd name="T70" fmla="*/ 28 w 32"/>
                  <a:gd name="T71" fmla="*/ 2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" h="35">
                    <a:moveTo>
                      <a:pt x="28" y="25"/>
                    </a:moveTo>
                    <a:lnTo>
                      <a:pt x="28" y="25"/>
                    </a:lnTo>
                    <a:lnTo>
                      <a:pt x="25" y="27"/>
                    </a:lnTo>
                    <a:lnTo>
                      <a:pt x="24" y="27"/>
                    </a:lnTo>
                    <a:lnTo>
                      <a:pt x="24" y="28"/>
                    </a:lnTo>
                    <a:lnTo>
                      <a:pt x="24" y="29"/>
                    </a:lnTo>
                    <a:lnTo>
                      <a:pt x="23" y="29"/>
                    </a:lnTo>
                    <a:lnTo>
                      <a:pt x="23" y="28"/>
                    </a:lnTo>
                    <a:lnTo>
                      <a:pt x="21" y="28"/>
                    </a:lnTo>
                    <a:lnTo>
                      <a:pt x="20" y="28"/>
                    </a:lnTo>
                    <a:lnTo>
                      <a:pt x="14" y="29"/>
                    </a:lnTo>
                    <a:lnTo>
                      <a:pt x="14" y="31"/>
                    </a:lnTo>
                    <a:lnTo>
                      <a:pt x="14" y="34"/>
                    </a:lnTo>
                    <a:lnTo>
                      <a:pt x="14" y="35"/>
                    </a:lnTo>
                    <a:lnTo>
                      <a:pt x="13" y="35"/>
                    </a:lnTo>
                    <a:lnTo>
                      <a:pt x="11" y="35"/>
                    </a:lnTo>
                    <a:lnTo>
                      <a:pt x="10" y="35"/>
                    </a:lnTo>
                    <a:lnTo>
                      <a:pt x="11" y="34"/>
                    </a:lnTo>
                    <a:lnTo>
                      <a:pt x="11" y="31"/>
                    </a:lnTo>
                    <a:lnTo>
                      <a:pt x="10" y="28"/>
                    </a:lnTo>
                    <a:lnTo>
                      <a:pt x="9" y="27"/>
                    </a:lnTo>
                    <a:lnTo>
                      <a:pt x="7" y="25"/>
                    </a:lnTo>
                    <a:lnTo>
                      <a:pt x="7" y="24"/>
                    </a:lnTo>
                    <a:lnTo>
                      <a:pt x="4" y="24"/>
                    </a:lnTo>
                    <a:lnTo>
                      <a:pt x="4" y="21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0" y="14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7" y="11"/>
                    </a:lnTo>
                    <a:lnTo>
                      <a:pt x="9" y="11"/>
                    </a:lnTo>
                    <a:lnTo>
                      <a:pt x="9" y="10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11" y="6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1" y="4"/>
                    </a:lnTo>
                    <a:lnTo>
                      <a:pt x="11" y="3"/>
                    </a:lnTo>
                    <a:lnTo>
                      <a:pt x="11" y="2"/>
                    </a:lnTo>
                    <a:lnTo>
                      <a:pt x="13" y="2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3"/>
                    </a:lnTo>
                    <a:lnTo>
                      <a:pt x="17" y="3"/>
                    </a:lnTo>
                    <a:lnTo>
                      <a:pt x="18" y="4"/>
                    </a:lnTo>
                    <a:lnTo>
                      <a:pt x="20" y="4"/>
                    </a:lnTo>
                    <a:lnTo>
                      <a:pt x="21" y="6"/>
                    </a:lnTo>
                    <a:lnTo>
                      <a:pt x="23" y="9"/>
                    </a:lnTo>
                    <a:lnTo>
                      <a:pt x="23" y="10"/>
                    </a:lnTo>
                    <a:lnTo>
                      <a:pt x="24" y="10"/>
                    </a:lnTo>
                    <a:lnTo>
                      <a:pt x="25" y="11"/>
                    </a:lnTo>
                    <a:lnTo>
                      <a:pt x="25" y="13"/>
                    </a:lnTo>
                    <a:lnTo>
                      <a:pt x="31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7"/>
                    </a:lnTo>
                    <a:lnTo>
                      <a:pt x="30" y="21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4"/>
                    </a:lnTo>
                    <a:lnTo>
                      <a:pt x="28" y="25"/>
                    </a:lnTo>
                    <a:lnTo>
                      <a:pt x="28" y="25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432" name="Liechtenstein">
                <a:extLst>
                  <a:ext uri="{FF2B5EF4-FFF2-40B4-BE49-F238E27FC236}">
                    <a16:creationId xmlns:a16="http://schemas.microsoft.com/office/drawing/2014/main" id="{9C15B554-5251-149B-F82E-DCAAD4F764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60593" y="2766901"/>
                <a:ext cx="2347" cy="4692"/>
              </a:xfrm>
              <a:custGeom>
                <a:avLst/>
                <a:gdLst>
                  <a:gd name="T0" fmla="*/ 2 w 3"/>
                  <a:gd name="T1" fmla="*/ 6 h 6"/>
                  <a:gd name="T2" fmla="*/ 0 w 3"/>
                  <a:gd name="T3" fmla="*/ 6 h 6"/>
                  <a:gd name="T4" fmla="*/ 0 w 3"/>
                  <a:gd name="T5" fmla="*/ 6 h 6"/>
                  <a:gd name="T6" fmla="*/ 0 w 3"/>
                  <a:gd name="T7" fmla="*/ 6 h 6"/>
                  <a:gd name="T8" fmla="*/ 0 w 3"/>
                  <a:gd name="T9" fmla="*/ 3 h 6"/>
                  <a:gd name="T10" fmla="*/ 2 w 3"/>
                  <a:gd name="T11" fmla="*/ 0 h 6"/>
                  <a:gd name="T12" fmla="*/ 2 w 3"/>
                  <a:gd name="T13" fmla="*/ 1 h 6"/>
                  <a:gd name="T14" fmla="*/ 2 w 3"/>
                  <a:gd name="T15" fmla="*/ 1 h 6"/>
                  <a:gd name="T16" fmla="*/ 2 w 3"/>
                  <a:gd name="T17" fmla="*/ 1 h 6"/>
                  <a:gd name="T18" fmla="*/ 2 w 3"/>
                  <a:gd name="T19" fmla="*/ 3 h 6"/>
                  <a:gd name="T20" fmla="*/ 2 w 3"/>
                  <a:gd name="T21" fmla="*/ 3 h 6"/>
                  <a:gd name="T22" fmla="*/ 3 w 3"/>
                  <a:gd name="T23" fmla="*/ 4 h 6"/>
                  <a:gd name="T24" fmla="*/ 3 w 3"/>
                  <a:gd name="T25" fmla="*/ 4 h 6"/>
                  <a:gd name="T26" fmla="*/ 2 w 3"/>
                  <a:gd name="T27" fmla="*/ 6 h 6"/>
                  <a:gd name="T28" fmla="*/ 2 w 3"/>
                  <a:gd name="T2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" h="6">
                    <a:moveTo>
                      <a:pt x="2" y="6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6"/>
                    </a:lnTo>
                    <a:lnTo>
                      <a:pt x="2" y="6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438" name="Lithuania">
                <a:extLst>
                  <a:ext uri="{FF2B5EF4-FFF2-40B4-BE49-F238E27FC236}">
                    <a16:creationId xmlns:a16="http://schemas.microsoft.com/office/drawing/2014/main" id="{FF05BBB5-BAD4-0BE7-E311-C512F66998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23269" y="2556518"/>
                <a:ext cx="82902" cy="62568"/>
              </a:xfrm>
              <a:custGeom>
                <a:avLst/>
                <a:gdLst>
                  <a:gd name="T0" fmla="*/ 103 w 106"/>
                  <a:gd name="T1" fmla="*/ 28 h 80"/>
                  <a:gd name="T2" fmla="*/ 100 w 106"/>
                  <a:gd name="T3" fmla="*/ 35 h 80"/>
                  <a:gd name="T4" fmla="*/ 106 w 106"/>
                  <a:gd name="T5" fmla="*/ 36 h 80"/>
                  <a:gd name="T6" fmla="*/ 104 w 106"/>
                  <a:gd name="T7" fmla="*/ 39 h 80"/>
                  <a:gd name="T8" fmla="*/ 98 w 106"/>
                  <a:gd name="T9" fmla="*/ 41 h 80"/>
                  <a:gd name="T10" fmla="*/ 96 w 106"/>
                  <a:gd name="T11" fmla="*/ 43 h 80"/>
                  <a:gd name="T12" fmla="*/ 92 w 106"/>
                  <a:gd name="T13" fmla="*/ 47 h 80"/>
                  <a:gd name="T14" fmla="*/ 88 w 106"/>
                  <a:gd name="T15" fmla="*/ 54 h 80"/>
                  <a:gd name="T16" fmla="*/ 88 w 106"/>
                  <a:gd name="T17" fmla="*/ 59 h 80"/>
                  <a:gd name="T18" fmla="*/ 85 w 106"/>
                  <a:gd name="T19" fmla="*/ 66 h 80"/>
                  <a:gd name="T20" fmla="*/ 85 w 106"/>
                  <a:gd name="T21" fmla="*/ 67 h 80"/>
                  <a:gd name="T22" fmla="*/ 88 w 106"/>
                  <a:gd name="T23" fmla="*/ 70 h 80"/>
                  <a:gd name="T24" fmla="*/ 86 w 106"/>
                  <a:gd name="T25" fmla="*/ 73 h 80"/>
                  <a:gd name="T26" fmla="*/ 84 w 106"/>
                  <a:gd name="T27" fmla="*/ 71 h 80"/>
                  <a:gd name="T28" fmla="*/ 82 w 106"/>
                  <a:gd name="T29" fmla="*/ 68 h 80"/>
                  <a:gd name="T30" fmla="*/ 78 w 106"/>
                  <a:gd name="T31" fmla="*/ 70 h 80"/>
                  <a:gd name="T32" fmla="*/ 72 w 106"/>
                  <a:gd name="T33" fmla="*/ 73 h 80"/>
                  <a:gd name="T34" fmla="*/ 70 w 106"/>
                  <a:gd name="T35" fmla="*/ 78 h 80"/>
                  <a:gd name="T36" fmla="*/ 61 w 106"/>
                  <a:gd name="T37" fmla="*/ 80 h 80"/>
                  <a:gd name="T38" fmla="*/ 59 w 106"/>
                  <a:gd name="T39" fmla="*/ 78 h 80"/>
                  <a:gd name="T40" fmla="*/ 54 w 106"/>
                  <a:gd name="T41" fmla="*/ 78 h 80"/>
                  <a:gd name="T42" fmla="*/ 47 w 106"/>
                  <a:gd name="T43" fmla="*/ 78 h 80"/>
                  <a:gd name="T44" fmla="*/ 46 w 106"/>
                  <a:gd name="T45" fmla="*/ 74 h 80"/>
                  <a:gd name="T46" fmla="*/ 43 w 106"/>
                  <a:gd name="T47" fmla="*/ 70 h 80"/>
                  <a:gd name="T48" fmla="*/ 39 w 106"/>
                  <a:gd name="T49" fmla="*/ 67 h 80"/>
                  <a:gd name="T50" fmla="*/ 38 w 106"/>
                  <a:gd name="T51" fmla="*/ 66 h 80"/>
                  <a:gd name="T52" fmla="*/ 33 w 106"/>
                  <a:gd name="T53" fmla="*/ 66 h 80"/>
                  <a:gd name="T54" fmla="*/ 32 w 106"/>
                  <a:gd name="T55" fmla="*/ 60 h 80"/>
                  <a:gd name="T56" fmla="*/ 35 w 106"/>
                  <a:gd name="T57" fmla="*/ 50 h 80"/>
                  <a:gd name="T58" fmla="*/ 31 w 106"/>
                  <a:gd name="T59" fmla="*/ 43 h 80"/>
                  <a:gd name="T60" fmla="*/ 21 w 106"/>
                  <a:gd name="T61" fmla="*/ 43 h 80"/>
                  <a:gd name="T62" fmla="*/ 11 w 106"/>
                  <a:gd name="T63" fmla="*/ 39 h 80"/>
                  <a:gd name="T64" fmla="*/ 7 w 106"/>
                  <a:gd name="T65" fmla="*/ 38 h 80"/>
                  <a:gd name="T66" fmla="*/ 6 w 106"/>
                  <a:gd name="T67" fmla="*/ 35 h 80"/>
                  <a:gd name="T68" fmla="*/ 3 w 106"/>
                  <a:gd name="T69" fmla="*/ 20 h 80"/>
                  <a:gd name="T70" fmla="*/ 7 w 106"/>
                  <a:gd name="T71" fmla="*/ 7 h 80"/>
                  <a:gd name="T72" fmla="*/ 21 w 106"/>
                  <a:gd name="T73" fmla="*/ 0 h 80"/>
                  <a:gd name="T74" fmla="*/ 31 w 106"/>
                  <a:gd name="T75" fmla="*/ 2 h 80"/>
                  <a:gd name="T76" fmla="*/ 38 w 106"/>
                  <a:gd name="T77" fmla="*/ 2 h 80"/>
                  <a:gd name="T78" fmla="*/ 42 w 106"/>
                  <a:gd name="T79" fmla="*/ 2 h 80"/>
                  <a:gd name="T80" fmla="*/ 53 w 106"/>
                  <a:gd name="T81" fmla="*/ 3 h 80"/>
                  <a:gd name="T82" fmla="*/ 63 w 106"/>
                  <a:gd name="T83" fmla="*/ 4 h 80"/>
                  <a:gd name="T84" fmla="*/ 68 w 106"/>
                  <a:gd name="T85" fmla="*/ 2 h 80"/>
                  <a:gd name="T86" fmla="*/ 72 w 106"/>
                  <a:gd name="T87" fmla="*/ 0 h 80"/>
                  <a:gd name="T88" fmla="*/ 78 w 106"/>
                  <a:gd name="T89" fmla="*/ 8 h 80"/>
                  <a:gd name="T90" fmla="*/ 91 w 106"/>
                  <a:gd name="T91" fmla="*/ 14 h 80"/>
                  <a:gd name="T92" fmla="*/ 96 w 106"/>
                  <a:gd name="T93" fmla="*/ 20 h 80"/>
                  <a:gd name="T94" fmla="*/ 102 w 106"/>
                  <a:gd name="T95" fmla="*/ 24 h 80"/>
                  <a:gd name="T96" fmla="*/ 0 w 106"/>
                  <a:gd name="T97" fmla="*/ 36 h 80"/>
                  <a:gd name="T98" fmla="*/ 3 w 106"/>
                  <a:gd name="T99" fmla="*/ 27 h 80"/>
                  <a:gd name="T100" fmla="*/ 3 w 106"/>
                  <a:gd name="T101" fmla="*/ 31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6" h="80">
                    <a:moveTo>
                      <a:pt x="103" y="24"/>
                    </a:moveTo>
                    <a:lnTo>
                      <a:pt x="103" y="25"/>
                    </a:lnTo>
                    <a:lnTo>
                      <a:pt x="103" y="28"/>
                    </a:lnTo>
                    <a:lnTo>
                      <a:pt x="102" y="31"/>
                    </a:lnTo>
                    <a:lnTo>
                      <a:pt x="100" y="34"/>
                    </a:lnTo>
                    <a:lnTo>
                      <a:pt x="100" y="35"/>
                    </a:lnTo>
                    <a:lnTo>
                      <a:pt x="102" y="35"/>
                    </a:lnTo>
                    <a:lnTo>
                      <a:pt x="104" y="36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6" y="38"/>
                    </a:lnTo>
                    <a:lnTo>
                      <a:pt x="104" y="39"/>
                    </a:lnTo>
                    <a:lnTo>
                      <a:pt x="104" y="39"/>
                    </a:lnTo>
                    <a:lnTo>
                      <a:pt x="103" y="42"/>
                    </a:lnTo>
                    <a:lnTo>
                      <a:pt x="98" y="41"/>
                    </a:lnTo>
                    <a:lnTo>
                      <a:pt x="98" y="42"/>
                    </a:lnTo>
                    <a:lnTo>
                      <a:pt x="96" y="43"/>
                    </a:lnTo>
                    <a:lnTo>
                      <a:pt x="96" y="43"/>
                    </a:lnTo>
                    <a:lnTo>
                      <a:pt x="96" y="46"/>
                    </a:lnTo>
                    <a:lnTo>
                      <a:pt x="95" y="46"/>
                    </a:lnTo>
                    <a:lnTo>
                      <a:pt x="92" y="47"/>
                    </a:lnTo>
                    <a:lnTo>
                      <a:pt x="89" y="47"/>
                    </a:lnTo>
                    <a:lnTo>
                      <a:pt x="88" y="50"/>
                    </a:lnTo>
                    <a:lnTo>
                      <a:pt x="88" y="54"/>
                    </a:lnTo>
                    <a:lnTo>
                      <a:pt x="88" y="57"/>
                    </a:lnTo>
                    <a:lnTo>
                      <a:pt x="88" y="59"/>
                    </a:lnTo>
                    <a:lnTo>
                      <a:pt x="88" y="59"/>
                    </a:lnTo>
                    <a:lnTo>
                      <a:pt x="86" y="60"/>
                    </a:lnTo>
                    <a:lnTo>
                      <a:pt x="85" y="63"/>
                    </a:lnTo>
                    <a:lnTo>
                      <a:pt x="85" y="66"/>
                    </a:lnTo>
                    <a:lnTo>
                      <a:pt x="84" y="67"/>
                    </a:lnTo>
                    <a:lnTo>
                      <a:pt x="85" y="67"/>
                    </a:lnTo>
                    <a:lnTo>
                      <a:pt x="85" y="67"/>
                    </a:lnTo>
                    <a:lnTo>
                      <a:pt x="86" y="68"/>
                    </a:lnTo>
                    <a:lnTo>
                      <a:pt x="88" y="68"/>
                    </a:lnTo>
                    <a:lnTo>
                      <a:pt x="88" y="70"/>
                    </a:lnTo>
                    <a:lnTo>
                      <a:pt x="88" y="71"/>
                    </a:lnTo>
                    <a:lnTo>
                      <a:pt x="88" y="73"/>
                    </a:lnTo>
                    <a:lnTo>
                      <a:pt x="86" y="73"/>
                    </a:lnTo>
                    <a:lnTo>
                      <a:pt x="85" y="73"/>
                    </a:lnTo>
                    <a:lnTo>
                      <a:pt x="84" y="73"/>
                    </a:lnTo>
                    <a:lnTo>
                      <a:pt x="84" y="71"/>
                    </a:lnTo>
                    <a:lnTo>
                      <a:pt x="84" y="70"/>
                    </a:lnTo>
                    <a:lnTo>
                      <a:pt x="84" y="68"/>
                    </a:lnTo>
                    <a:lnTo>
                      <a:pt x="82" y="68"/>
                    </a:lnTo>
                    <a:lnTo>
                      <a:pt x="81" y="68"/>
                    </a:lnTo>
                    <a:lnTo>
                      <a:pt x="79" y="68"/>
                    </a:lnTo>
                    <a:lnTo>
                      <a:pt x="78" y="70"/>
                    </a:lnTo>
                    <a:lnTo>
                      <a:pt x="77" y="73"/>
                    </a:lnTo>
                    <a:lnTo>
                      <a:pt x="75" y="73"/>
                    </a:lnTo>
                    <a:lnTo>
                      <a:pt x="72" y="73"/>
                    </a:lnTo>
                    <a:lnTo>
                      <a:pt x="71" y="73"/>
                    </a:lnTo>
                    <a:lnTo>
                      <a:pt x="71" y="77"/>
                    </a:lnTo>
                    <a:lnTo>
                      <a:pt x="70" y="78"/>
                    </a:lnTo>
                    <a:lnTo>
                      <a:pt x="67" y="77"/>
                    </a:lnTo>
                    <a:lnTo>
                      <a:pt x="64" y="80"/>
                    </a:lnTo>
                    <a:lnTo>
                      <a:pt x="61" y="80"/>
                    </a:lnTo>
                    <a:lnTo>
                      <a:pt x="60" y="80"/>
                    </a:lnTo>
                    <a:lnTo>
                      <a:pt x="60" y="78"/>
                    </a:lnTo>
                    <a:lnTo>
                      <a:pt x="59" y="78"/>
                    </a:lnTo>
                    <a:lnTo>
                      <a:pt x="56" y="80"/>
                    </a:lnTo>
                    <a:lnTo>
                      <a:pt x="56" y="78"/>
                    </a:lnTo>
                    <a:lnTo>
                      <a:pt x="54" y="78"/>
                    </a:lnTo>
                    <a:lnTo>
                      <a:pt x="52" y="80"/>
                    </a:lnTo>
                    <a:lnTo>
                      <a:pt x="47" y="80"/>
                    </a:lnTo>
                    <a:lnTo>
                      <a:pt x="47" y="78"/>
                    </a:lnTo>
                    <a:lnTo>
                      <a:pt x="46" y="78"/>
                    </a:lnTo>
                    <a:lnTo>
                      <a:pt x="46" y="77"/>
                    </a:lnTo>
                    <a:lnTo>
                      <a:pt x="46" y="74"/>
                    </a:lnTo>
                    <a:lnTo>
                      <a:pt x="46" y="73"/>
                    </a:lnTo>
                    <a:lnTo>
                      <a:pt x="45" y="71"/>
                    </a:lnTo>
                    <a:lnTo>
                      <a:pt x="43" y="70"/>
                    </a:lnTo>
                    <a:lnTo>
                      <a:pt x="40" y="68"/>
                    </a:lnTo>
                    <a:lnTo>
                      <a:pt x="39" y="67"/>
                    </a:lnTo>
                    <a:lnTo>
                      <a:pt x="39" y="67"/>
                    </a:lnTo>
                    <a:lnTo>
                      <a:pt x="39" y="67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6" y="64"/>
                    </a:lnTo>
                    <a:lnTo>
                      <a:pt x="35" y="64"/>
                    </a:lnTo>
                    <a:lnTo>
                      <a:pt x="33" y="66"/>
                    </a:lnTo>
                    <a:lnTo>
                      <a:pt x="33" y="64"/>
                    </a:lnTo>
                    <a:lnTo>
                      <a:pt x="32" y="61"/>
                    </a:lnTo>
                    <a:lnTo>
                      <a:pt x="32" y="60"/>
                    </a:lnTo>
                    <a:lnTo>
                      <a:pt x="32" y="57"/>
                    </a:lnTo>
                    <a:lnTo>
                      <a:pt x="35" y="50"/>
                    </a:lnTo>
                    <a:lnTo>
                      <a:pt x="35" y="50"/>
                    </a:lnTo>
                    <a:lnTo>
                      <a:pt x="33" y="47"/>
                    </a:lnTo>
                    <a:lnTo>
                      <a:pt x="31" y="46"/>
                    </a:lnTo>
                    <a:lnTo>
                      <a:pt x="31" y="43"/>
                    </a:lnTo>
                    <a:lnTo>
                      <a:pt x="26" y="43"/>
                    </a:lnTo>
                    <a:lnTo>
                      <a:pt x="22" y="43"/>
                    </a:lnTo>
                    <a:lnTo>
                      <a:pt x="21" y="43"/>
                    </a:lnTo>
                    <a:lnTo>
                      <a:pt x="18" y="42"/>
                    </a:lnTo>
                    <a:lnTo>
                      <a:pt x="14" y="41"/>
                    </a:lnTo>
                    <a:lnTo>
                      <a:pt x="11" y="39"/>
                    </a:lnTo>
                    <a:lnTo>
                      <a:pt x="10" y="38"/>
                    </a:lnTo>
                    <a:lnTo>
                      <a:pt x="8" y="36"/>
                    </a:lnTo>
                    <a:lnTo>
                      <a:pt x="7" y="38"/>
                    </a:lnTo>
                    <a:lnTo>
                      <a:pt x="6" y="38"/>
                    </a:lnTo>
                    <a:lnTo>
                      <a:pt x="6" y="36"/>
                    </a:lnTo>
                    <a:lnTo>
                      <a:pt x="6" y="35"/>
                    </a:lnTo>
                    <a:lnTo>
                      <a:pt x="6" y="31"/>
                    </a:lnTo>
                    <a:lnTo>
                      <a:pt x="4" y="27"/>
                    </a:lnTo>
                    <a:lnTo>
                      <a:pt x="3" y="20"/>
                    </a:lnTo>
                    <a:lnTo>
                      <a:pt x="3" y="13"/>
                    </a:lnTo>
                    <a:lnTo>
                      <a:pt x="3" y="11"/>
                    </a:lnTo>
                    <a:lnTo>
                      <a:pt x="7" y="7"/>
                    </a:lnTo>
                    <a:lnTo>
                      <a:pt x="14" y="3"/>
                    </a:lnTo>
                    <a:lnTo>
                      <a:pt x="15" y="3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6" y="2"/>
                    </a:lnTo>
                    <a:lnTo>
                      <a:pt x="31" y="2"/>
                    </a:lnTo>
                    <a:lnTo>
                      <a:pt x="33" y="2"/>
                    </a:lnTo>
                    <a:lnTo>
                      <a:pt x="36" y="0"/>
                    </a:lnTo>
                    <a:lnTo>
                      <a:pt x="38" y="2"/>
                    </a:lnTo>
                    <a:lnTo>
                      <a:pt x="39" y="3"/>
                    </a:lnTo>
                    <a:lnTo>
                      <a:pt x="40" y="3"/>
                    </a:lnTo>
                    <a:lnTo>
                      <a:pt x="42" y="2"/>
                    </a:lnTo>
                    <a:lnTo>
                      <a:pt x="49" y="3"/>
                    </a:lnTo>
                    <a:lnTo>
                      <a:pt x="50" y="3"/>
                    </a:lnTo>
                    <a:lnTo>
                      <a:pt x="53" y="3"/>
                    </a:lnTo>
                    <a:lnTo>
                      <a:pt x="56" y="4"/>
                    </a:lnTo>
                    <a:lnTo>
                      <a:pt x="59" y="6"/>
                    </a:lnTo>
                    <a:lnTo>
                      <a:pt x="63" y="4"/>
                    </a:lnTo>
                    <a:lnTo>
                      <a:pt x="64" y="4"/>
                    </a:lnTo>
                    <a:lnTo>
                      <a:pt x="65" y="4"/>
                    </a:lnTo>
                    <a:lnTo>
                      <a:pt x="68" y="2"/>
                    </a:lnTo>
                    <a:lnTo>
                      <a:pt x="70" y="0"/>
                    </a:lnTo>
                    <a:lnTo>
                      <a:pt x="71" y="0"/>
                    </a:lnTo>
                    <a:lnTo>
                      <a:pt x="72" y="0"/>
                    </a:lnTo>
                    <a:lnTo>
                      <a:pt x="74" y="3"/>
                    </a:lnTo>
                    <a:lnTo>
                      <a:pt x="75" y="7"/>
                    </a:lnTo>
                    <a:lnTo>
                      <a:pt x="78" y="8"/>
                    </a:lnTo>
                    <a:lnTo>
                      <a:pt x="85" y="10"/>
                    </a:lnTo>
                    <a:lnTo>
                      <a:pt x="86" y="10"/>
                    </a:lnTo>
                    <a:lnTo>
                      <a:pt x="91" y="14"/>
                    </a:lnTo>
                    <a:lnTo>
                      <a:pt x="92" y="15"/>
                    </a:lnTo>
                    <a:lnTo>
                      <a:pt x="93" y="17"/>
                    </a:lnTo>
                    <a:lnTo>
                      <a:pt x="96" y="20"/>
                    </a:lnTo>
                    <a:lnTo>
                      <a:pt x="98" y="21"/>
                    </a:lnTo>
                    <a:lnTo>
                      <a:pt x="100" y="24"/>
                    </a:lnTo>
                    <a:lnTo>
                      <a:pt x="102" y="24"/>
                    </a:lnTo>
                    <a:lnTo>
                      <a:pt x="103" y="24"/>
                    </a:lnTo>
                    <a:close/>
                    <a:moveTo>
                      <a:pt x="1" y="36"/>
                    </a:moveTo>
                    <a:lnTo>
                      <a:pt x="0" y="36"/>
                    </a:lnTo>
                    <a:lnTo>
                      <a:pt x="1" y="32"/>
                    </a:lnTo>
                    <a:lnTo>
                      <a:pt x="3" y="31"/>
                    </a:lnTo>
                    <a:lnTo>
                      <a:pt x="3" y="27"/>
                    </a:lnTo>
                    <a:lnTo>
                      <a:pt x="4" y="27"/>
                    </a:lnTo>
                    <a:lnTo>
                      <a:pt x="4" y="28"/>
                    </a:lnTo>
                    <a:lnTo>
                      <a:pt x="3" y="31"/>
                    </a:lnTo>
                    <a:lnTo>
                      <a:pt x="3" y="35"/>
                    </a:lnTo>
                    <a:lnTo>
                      <a:pt x="1" y="36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439" name="Luxembourg">
                <a:extLst>
                  <a:ext uri="{FF2B5EF4-FFF2-40B4-BE49-F238E27FC236}">
                    <a16:creationId xmlns:a16="http://schemas.microsoft.com/office/drawing/2014/main" id="{FD083448-D790-5B4C-66FB-52C9E603A0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7410" y="2705116"/>
                <a:ext cx="10949" cy="16424"/>
              </a:xfrm>
              <a:custGeom>
                <a:avLst/>
                <a:gdLst>
                  <a:gd name="T0" fmla="*/ 7 w 14"/>
                  <a:gd name="T1" fmla="*/ 1 h 21"/>
                  <a:gd name="T2" fmla="*/ 7 w 14"/>
                  <a:gd name="T3" fmla="*/ 2 h 21"/>
                  <a:gd name="T4" fmla="*/ 7 w 14"/>
                  <a:gd name="T5" fmla="*/ 4 h 21"/>
                  <a:gd name="T6" fmla="*/ 7 w 14"/>
                  <a:gd name="T7" fmla="*/ 5 h 21"/>
                  <a:gd name="T8" fmla="*/ 9 w 14"/>
                  <a:gd name="T9" fmla="*/ 7 h 21"/>
                  <a:gd name="T10" fmla="*/ 10 w 14"/>
                  <a:gd name="T11" fmla="*/ 8 h 21"/>
                  <a:gd name="T12" fmla="*/ 11 w 14"/>
                  <a:gd name="T13" fmla="*/ 9 h 21"/>
                  <a:gd name="T14" fmla="*/ 13 w 14"/>
                  <a:gd name="T15" fmla="*/ 11 h 21"/>
                  <a:gd name="T16" fmla="*/ 14 w 14"/>
                  <a:gd name="T17" fmla="*/ 11 h 21"/>
                  <a:gd name="T18" fmla="*/ 14 w 14"/>
                  <a:gd name="T19" fmla="*/ 12 h 21"/>
                  <a:gd name="T20" fmla="*/ 14 w 14"/>
                  <a:gd name="T21" fmla="*/ 12 h 21"/>
                  <a:gd name="T22" fmla="*/ 13 w 14"/>
                  <a:gd name="T23" fmla="*/ 14 h 21"/>
                  <a:gd name="T24" fmla="*/ 13 w 14"/>
                  <a:gd name="T25" fmla="*/ 15 h 21"/>
                  <a:gd name="T26" fmla="*/ 13 w 14"/>
                  <a:gd name="T27" fmla="*/ 16 h 21"/>
                  <a:gd name="T28" fmla="*/ 11 w 14"/>
                  <a:gd name="T29" fmla="*/ 18 h 21"/>
                  <a:gd name="T30" fmla="*/ 11 w 14"/>
                  <a:gd name="T31" fmla="*/ 21 h 21"/>
                  <a:gd name="T32" fmla="*/ 10 w 14"/>
                  <a:gd name="T33" fmla="*/ 19 h 21"/>
                  <a:gd name="T34" fmla="*/ 10 w 14"/>
                  <a:gd name="T35" fmla="*/ 19 h 21"/>
                  <a:gd name="T36" fmla="*/ 9 w 14"/>
                  <a:gd name="T37" fmla="*/ 19 h 21"/>
                  <a:gd name="T38" fmla="*/ 7 w 14"/>
                  <a:gd name="T39" fmla="*/ 19 h 21"/>
                  <a:gd name="T40" fmla="*/ 7 w 14"/>
                  <a:gd name="T41" fmla="*/ 21 h 21"/>
                  <a:gd name="T42" fmla="*/ 6 w 14"/>
                  <a:gd name="T43" fmla="*/ 21 h 21"/>
                  <a:gd name="T44" fmla="*/ 4 w 14"/>
                  <a:gd name="T45" fmla="*/ 21 h 21"/>
                  <a:gd name="T46" fmla="*/ 4 w 14"/>
                  <a:gd name="T47" fmla="*/ 19 h 21"/>
                  <a:gd name="T48" fmla="*/ 3 w 14"/>
                  <a:gd name="T49" fmla="*/ 19 h 21"/>
                  <a:gd name="T50" fmla="*/ 2 w 14"/>
                  <a:gd name="T51" fmla="*/ 19 h 21"/>
                  <a:gd name="T52" fmla="*/ 2 w 14"/>
                  <a:gd name="T53" fmla="*/ 18 h 21"/>
                  <a:gd name="T54" fmla="*/ 2 w 14"/>
                  <a:gd name="T55" fmla="*/ 18 h 21"/>
                  <a:gd name="T56" fmla="*/ 2 w 14"/>
                  <a:gd name="T57" fmla="*/ 16 h 21"/>
                  <a:gd name="T58" fmla="*/ 3 w 14"/>
                  <a:gd name="T59" fmla="*/ 15 h 21"/>
                  <a:gd name="T60" fmla="*/ 3 w 14"/>
                  <a:gd name="T61" fmla="*/ 15 h 21"/>
                  <a:gd name="T62" fmla="*/ 2 w 14"/>
                  <a:gd name="T63" fmla="*/ 12 h 21"/>
                  <a:gd name="T64" fmla="*/ 2 w 14"/>
                  <a:gd name="T65" fmla="*/ 11 h 21"/>
                  <a:gd name="T66" fmla="*/ 0 w 14"/>
                  <a:gd name="T67" fmla="*/ 9 h 21"/>
                  <a:gd name="T68" fmla="*/ 0 w 14"/>
                  <a:gd name="T69" fmla="*/ 9 h 21"/>
                  <a:gd name="T70" fmla="*/ 0 w 14"/>
                  <a:gd name="T71" fmla="*/ 8 h 21"/>
                  <a:gd name="T72" fmla="*/ 0 w 14"/>
                  <a:gd name="T73" fmla="*/ 8 h 21"/>
                  <a:gd name="T74" fmla="*/ 0 w 14"/>
                  <a:gd name="T75" fmla="*/ 7 h 21"/>
                  <a:gd name="T76" fmla="*/ 2 w 14"/>
                  <a:gd name="T77" fmla="*/ 5 h 21"/>
                  <a:gd name="T78" fmla="*/ 2 w 14"/>
                  <a:gd name="T79" fmla="*/ 4 h 21"/>
                  <a:gd name="T80" fmla="*/ 3 w 14"/>
                  <a:gd name="T81" fmla="*/ 2 h 21"/>
                  <a:gd name="T82" fmla="*/ 4 w 14"/>
                  <a:gd name="T83" fmla="*/ 0 h 21"/>
                  <a:gd name="T84" fmla="*/ 6 w 14"/>
                  <a:gd name="T85" fmla="*/ 0 h 21"/>
                  <a:gd name="T86" fmla="*/ 7 w 14"/>
                  <a:gd name="T87" fmla="*/ 0 h 21"/>
                  <a:gd name="T88" fmla="*/ 7 w 14"/>
                  <a:gd name="T89" fmla="*/ 1 h 21"/>
                  <a:gd name="T90" fmla="*/ 7 w 14"/>
                  <a:gd name="T91" fmla="*/ 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" h="21">
                    <a:moveTo>
                      <a:pt x="7" y="1"/>
                    </a:moveTo>
                    <a:lnTo>
                      <a:pt x="7" y="2"/>
                    </a:lnTo>
                    <a:lnTo>
                      <a:pt x="7" y="4"/>
                    </a:lnTo>
                    <a:lnTo>
                      <a:pt x="7" y="5"/>
                    </a:lnTo>
                    <a:lnTo>
                      <a:pt x="9" y="7"/>
                    </a:lnTo>
                    <a:lnTo>
                      <a:pt x="10" y="8"/>
                    </a:lnTo>
                    <a:lnTo>
                      <a:pt x="11" y="9"/>
                    </a:lnTo>
                    <a:lnTo>
                      <a:pt x="13" y="11"/>
                    </a:lnTo>
                    <a:lnTo>
                      <a:pt x="14" y="11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3" y="14"/>
                    </a:lnTo>
                    <a:lnTo>
                      <a:pt x="13" y="15"/>
                    </a:lnTo>
                    <a:lnTo>
                      <a:pt x="13" y="16"/>
                    </a:lnTo>
                    <a:lnTo>
                      <a:pt x="11" y="18"/>
                    </a:lnTo>
                    <a:lnTo>
                      <a:pt x="11" y="21"/>
                    </a:lnTo>
                    <a:lnTo>
                      <a:pt x="10" y="19"/>
                    </a:lnTo>
                    <a:lnTo>
                      <a:pt x="10" y="19"/>
                    </a:lnTo>
                    <a:lnTo>
                      <a:pt x="9" y="19"/>
                    </a:lnTo>
                    <a:lnTo>
                      <a:pt x="7" y="19"/>
                    </a:lnTo>
                    <a:lnTo>
                      <a:pt x="7" y="21"/>
                    </a:lnTo>
                    <a:lnTo>
                      <a:pt x="6" y="21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3" y="19"/>
                    </a:lnTo>
                    <a:lnTo>
                      <a:pt x="2" y="19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6"/>
                    </a:lnTo>
                    <a:lnTo>
                      <a:pt x="3" y="15"/>
                    </a:lnTo>
                    <a:lnTo>
                      <a:pt x="3" y="15"/>
                    </a:lnTo>
                    <a:lnTo>
                      <a:pt x="2" y="12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7" y="0"/>
                    </a:lnTo>
                    <a:lnTo>
                      <a:pt x="7" y="1"/>
                    </a:lnTo>
                    <a:lnTo>
                      <a:pt x="7" y="1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440" name="Latvia">
                <a:extLst>
                  <a:ext uri="{FF2B5EF4-FFF2-40B4-BE49-F238E27FC236}">
                    <a16:creationId xmlns:a16="http://schemas.microsoft.com/office/drawing/2014/main" id="{ECF19632-525B-B664-34CA-790911AF4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051" y="2512720"/>
                <a:ext cx="102455" cy="62568"/>
              </a:xfrm>
              <a:custGeom>
                <a:avLst/>
                <a:gdLst>
                  <a:gd name="T0" fmla="*/ 119 w 131"/>
                  <a:gd name="T1" fmla="*/ 20 h 80"/>
                  <a:gd name="T2" fmla="*/ 124 w 131"/>
                  <a:gd name="T3" fmla="*/ 27 h 80"/>
                  <a:gd name="T4" fmla="*/ 124 w 131"/>
                  <a:gd name="T5" fmla="*/ 30 h 80"/>
                  <a:gd name="T6" fmla="*/ 123 w 131"/>
                  <a:gd name="T7" fmla="*/ 35 h 80"/>
                  <a:gd name="T8" fmla="*/ 122 w 131"/>
                  <a:gd name="T9" fmla="*/ 42 h 80"/>
                  <a:gd name="T10" fmla="*/ 126 w 131"/>
                  <a:gd name="T11" fmla="*/ 42 h 80"/>
                  <a:gd name="T12" fmla="*/ 127 w 131"/>
                  <a:gd name="T13" fmla="*/ 49 h 80"/>
                  <a:gd name="T14" fmla="*/ 130 w 131"/>
                  <a:gd name="T15" fmla="*/ 53 h 80"/>
                  <a:gd name="T16" fmla="*/ 131 w 131"/>
                  <a:gd name="T17" fmla="*/ 62 h 80"/>
                  <a:gd name="T18" fmla="*/ 130 w 131"/>
                  <a:gd name="T19" fmla="*/ 64 h 80"/>
                  <a:gd name="T20" fmla="*/ 122 w 131"/>
                  <a:gd name="T21" fmla="*/ 71 h 80"/>
                  <a:gd name="T22" fmla="*/ 120 w 131"/>
                  <a:gd name="T23" fmla="*/ 76 h 80"/>
                  <a:gd name="T24" fmla="*/ 115 w 131"/>
                  <a:gd name="T25" fmla="*/ 76 h 80"/>
                  <a:gd name="T26" fmla="*/ 106 w 131"/>
                  <a:gd name="T27" fmla="*/ 78 h 80"/>
                  <a:gd name="T28" fmla="*/ 102 w 131"/>
                  <a:gd name="T29" fmla="*/ 80 h 80"/>
                  <a:gd name="T30" fmla="*/ 97 w 131"/>
                  <a:gd name="T31" fmla="*/ 77 h 80"/>
                  <a:gd name="T32" fmla="*/ 91 w 131"/>
                  <a:gd name="T33" fmla="*/ 71 h 80"/>
                  <a:gd name="T34" fmla="*/ 84 w 131"/>
                  <a:gd name="T35" fmla="*/ 66 h 80"/>
                  <a:gd name="T36" fmla="*/ 73 w 131"/>
                  <a:gd name="T37" fmla="*/ 59 h 80"/>
                  <a:gd name="T38" fmla="*/ 69 w 131"/>
                  <a:gd name="T39" fmla="*/ 56 h 80"/>
                  <a:gd name="T40" fmla="*/ 63 w 131"/>
                  <a:gd name="T41" fmla="*/ 60 h 80"/>
                  <a:gd name="T42" fmla="*/ 55 w 131"/>
                  <a:gd name="T43" fmla="*/ 60 h 80"/>
                  <a:gd name="T44" fmla="*/ 48 w 131"/>
                  <a:gd name="T45" fmla="*/ 59 h 80"/>
                  <a:gd name="T46" fmla="*/ 38 w 131"/>
                  <a:gd name="T47" fmla="*/ 59 h 80"/>
                  <a:gd name="T48" fmla="*/ 32 w 131"/>
                  <a:gd name="T49" fmla="*/ 58 h 80"/>
                  <a:gd name="T50" fmla="*/ 20 w 131"/>
                  <a:gd name="T51" fmla="*/ 56 h 80"/>
                  <a:gd name="T52" fmla="*/ 13 w 131"/>
                  <a:gd name="T53" fmla="*/ 59 h 80"/>
                  <a:gd name="T54" fmla="*/ 0 w 131"/>
                  <a:gd name="T55" fmla="*/ 62 h 80"/>
                  <a:gd name="T56" fmla="*/ 5 w 131"/>
                  <a:gd name="T57" fmla="*/ 39 h 80"/>
                  <a:gd name="T58" fmla="*/ 9 w 131"/>
                  <a:gd name="T59" fmla="*/ 28 h 80"/>
                  <a:gd name="T60" fmla="*/ 17 w 131"/>
                  <a:gd name="T61" fmla="*/ 17 h 80"/>
                  <a:gd name="T62" fmla="*/ 30 w 131"/>
                  <a:gd name="T63" fmla="*/ 14 h 80"/>
                  <a:gd name="T64" fmla="*/ 39 w 131"/>
                  <a:gd name="T65" fmla="*/ 25 h 80"/>
                  <a:gd name="T66" fmla="*/ 53 w 131"/>
                  <a:gd name="T67" fmla="*/ 37 h 80"/>
                  <a:gd name="T68" fmla="*/ 62 w 131"/>
                  <a:gd name="T69" fmla="*/ 28 h 80"/>
                  <a:gd name="T70" fmla="*/ 60 w 131"/>
                  <a:gd name="T71" fmla="*/ 10 h 80"/>
                  <a:gd name="T72" fmla="*/ 63 w 131"/>
                  <a:gd name="T73" fmla="*/ 6 h 80"/>
                  <a:gd name="T74" fmla="*/ 71 w 131"/>
                  <a:gd name="T75" fmla="*/ 3 h 80"/>
                  <a:gd name="T76" fmla="*/ 77 w 131"/>
                  <a:gd name="T77" fmla="*/ 3 h 80"/>
                  <a:gd name="T78" fmla="*/ 78 w 131"/>
                  <a:gd name="T79" fmla="*/ 2 h 80"/>
                  <a:gd name="T80" fmla="*/ 84 w 131"/>
                  <a:gd name="T81" fmla="*/ 5 h 80"/>
                  <a:gd name="T82" fmla="*/ 88 w 131"/>
                  <a:gd name="T83" fmla="*/ 7 h 80"/>
                  <a:gd name="T84" fmla="*/ 92 w 131"/>
                  <a:gd name="T85" fmla="*/ 10 h 80"/>
                  <a:gd name="T86" fmla="*/ 99 w 131"/>
                  <a:gd name="T87" fmla="*/ 18 h 80"/>
                  <a:gd name="T88" fmla="*/ 108 w 131"/>
                  <a:gd name="T89" fmla="*/ 16 h 80"/>
                  <a:gd name="T90" fmla="*/ 113 w 131"/>
                  <a:gd name="T91" fmla="*/ 18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1" h="80">
                    <a:moveTo>
                      <a:pt x="116" y="18"/>
                    </a:moveTo>
                    <a:lnTo>
                      <a:pt x="117" y="18"/>
                    </a:lnTo>
                    <a:lnTo>
                      <a:pt x="119" y="20"/>
                    </a:lnTo>
                    <a:lnTo>
                      <a:pt x="119" y="23"/>
                    </a:lnTo>
                    <a:lnTo>
                      <a:pt x="122" y="24"/>
                    </a:lnTo>
                    <a:lnTo>
                      <a:pt x="124" y="27"/>
                    </a:lnTo>
                    <a:lnTo>
                      <a:pt x="124" y="27"/>
                    </a:lnTo>
                    <a:lnTo>
                      <a:pt x="124" y="28"/>
                    </a:lnTo>
                    <a:lnTo>
                      <a:pt x="124" y="30"/>
                    </a:lnTo>
                    <a:lnTo>
                      <a:pt x="124" y="31"/>
                    </a:lnTo>
                    <a:lnTo>
                      <a:pt x="123" y="32"/>
                    </a:lnTo>
                    <a:lnTo>
                      <a:pt x="123" y="35"/>
                    </a:lnTo>
                    <a:lnTo>
                      <a:pt x="123" y="38"/>
                    </a:lnTo>
                    <a:lnTo>
                      <a:pt x="122" y="42"/>
                    </a:lnTo>
                    <a:lnTo>
                      <a:pt x="122" y="42"/>
                    </a:lnTo>
                    <a:lnTo>
                      <a:pt x="124" y="41"/>
                    </a:lnTo>
                    <a:lnTo>
                      <a:pt x="124" y="42"/>
                    </a:lnTo>
                    <a:lnTo>
                      <a:pt x="126" y="42"/>
                    </a:lnTo>
                    <a:lnTo>
                      <a:pt x="126" y="45"/>
                    </a:lnTo>
                    <a:lnTo>
                      <a:pt x="127" y="46"/>
                    </a:lnTo>
                    <a:lnTo>
                      <a:pt x="127" y="49"/>
                    </a:lnTo>
                    <a:lnTo>
                      <a:pt x="127" y="51"/>
                    </a:lnTo>
                    <a:lnTo>
                      <a:pt x="130" y="52"/>
                    </a:lnTo>
                    <a:lnTo>
                      <a:pt x="130" y="53"/>
                    </a:lnTo>
                    <a:lnTo>
                      <a:pt x="131" y="58"/>
                    </a:lnTo>
                    <a:lnTo>
                      <a:pt x="131" y="59"/>
                    </a:lnTo>
                    <a:lnTo>
                      <a:pt x="131" y="62"/>
                    </a:lnTo>
                    <a:lnTo>
                      <a:pt x="131" y="63"/>
                    </a:lnTo>
                    <a:lnTo>
                      <a:pt x="130" y="64"/>
                    </a:lnTo>
                    <a:lnTo>
                      <a:pt x="130" y="64"/>
                    </a:lnTo>
                    <a:lnTo>
                      <a:pt x="129" y="66"/>
                    </a:lnTo>
                    <a:lnTo>
                      <a:pt x="126" y="67"/>
                    </a:lnTo>
                    <a:lnTo>
                      <a:pt x="122" y="71"/>
                    </a:lnTo>
                    <a:lnTo>
                      <a:pt x="122" y="73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17" y="76"/>
                    </a:lnTo>
                    <a:lnTo>
                      <a:pt x="117" y="76"/>
                    </a:lnTo>
                    <a:lnTo>
                      <a:pt x="115" y="76"/>
                    </a:lnTo>
                    <a:lnTo>
                      <a:pt x="110" y="76"/>
                    </a:lnTo>
                    <a:lnTo>
                      <a:pt x="109" y="76"/>
                    </a:lnTo>
                    <a:lnTo>
                      <a:pt x="106" y="78"/>
                    </a:lnTo>
                    <a:lnTo>
                      <a:pt x="105" y="80"/>
                    </a:lnTo>
                    <a:lnTo>
                      <a:pt x="102" y="80"/>
                    </a:lnTo>
                    <a:lnTo>
                      <a:pt x="102" y="80"/>
                    </a:lnTo>
                    <a:lnTo>
                      <a:pt x="101" y="80"/>
                    </a:lnTo>
                    <a:lnTo>
                      <a:pt x="99" y="80"/>
                    </a:lnTo>
                    <a:lnTo>
                      <a:pt x="97" y="77"/>
                    </a:lnTo>
                    <a:lnTo>
                      <a:pt x="95" y="76"/>
                    </a:lnTo>
                    <a:lnTo>
                      <a:pt x="92" y="73"/>
                    </a:lnTo>
                    <a:lnTo>
                      <a:pt x="91" y="71"/>
                    </a:lnTo>
                    <a:lnTo>
                      <a:pt x="90" y="70"/>
                    </a:lnTo>
                    <a:lnTo>
                      <a:pt x="85" y="66"/>
                    </a:lnTo>
                    <a:lnTo>
                      <a:pt x="84" y="66"/>
                    </a:lnTo>
                    <a:lnTo>
                      <a:pt x="77" y="64"/>
                    </a:lnTo>
                    <a:lnTo>
                      <a:pt x="74" y="63"/>
                    </a:lnTo>
                    <a:lnTo>
                      <a:pt x="73" y="59"/>
                    </a:lnTo>
                    <a:lnTo>
                      <a:pt x="71" y="56"/>
                    </a:lnTo>
                    <a:lnTo>
                      <a:pt x="70" y="56"/>
                    </a:lnTo>
                    <a:lnTo>
                      <a:pt x="69" y="56"/>
                    </a:lnTo>
                    <a:lnTo>
                      <a:pt x="67" y="58"/>
                    </a:lnTo>
                    <a:lnTo>
                      <a:pt x="64" y="60"/>
                    </a:lnTo>
                    <a:lnTo>
                      <a:pt x="63" y="60"/>
                    </a:lnTo>
                    <a:lnTo>
                      <a:pt x="62" y="60"/>
                    </a:lnTo>
                    <a:lnTo>
                      <a:pt x="58" y="62"/>
                    </a:lnTo>
                    <a:lnTo>
                      <a:pt x="55" y="60"/>
                    </a:lnTo>
                    <a:lnTo>
                      <a:pt x="52" y="59"/>
                    </a:lnTo>
                    <a:lnTo>
                      <a:pt x="49" y="59"/>
                    </a:lnTo>
                    <a:lnTo>
                      <a:pt x="48" y="59"/>
                    </a:lnTo>
                    <a:lnTo>
                      <a:pt x="41" y="58"/>
                    </a:lnTo>
                    <a:lnTo>
                      <a:pt x="39" y="59"/>
                    </a:lnTo>
                    <a:lnTo>
                      <a:pt x="38" y="59"/>
                    </a:lnTo>
                    <a:lnTo>
                      <a:pt x="37" y="58"/>
                    </a:lnTo>
                    <a:lnTo>
                      <a:pt x="35" y="56"/>
                    </a:lnTo>
                    <a:lnTo>
                      <a:pt x="32" y="58"/>
                    </a:lnTo>
                    <a:lnTo>
                      <a:pt x="30" y="58"/>
                    </a:lnTo>
                    <a:lnTo>
                      <a:pt x="25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4" y="59"/>
                    </a:lnTo>
                    <a:lnTo>
                      <a:pt x="13" y="59"/>
                    </a:lnTo>
                    <a:lnTo>
                      <a:pt x="6" y="63"/>
                    </a:lnTo>
                    <a:lnTo>
                      <a:pt x="2" y="67"/>
                    </a:lnTo>
                    <a:lnTo>
                      <a:pt x="0" y="62"/>
                    </a:lnTo>
                    <a:lnTo>
                      <a:pt x="2" y="49"/>
                    </a:lnTo>
                    <a:lnTo>
                      <a:pt x="2" y="42"/>
                    </a:lnTo>
                    <a:lnTo>
                      <a:pt x="5" y="39"/>
                    </a:lnTo>
                    <a:lnTo>
                      <a:pt x="7" y="37"/>
                    </a:lnTo>
                    <a:lnTo>
                      <a:pt x="7" y="32"/>
                    </a:lnTo>
                    <a:lnTo>
                      <a:pt x="9" y="28"/>
                    </a:lnTo>
                    <a:lnTo>
                      <a:pt x="9" y="25"/>
                    </a:lnTo>
                    <a:lnTo>
                      <a:pt x="14" y="17"/>
                    </a:lnTo>
                    <a:lnTo>
                      <a:pt x="17" y="17"/>
                    </a:lnTo>
                    <a:lnTo>
                      <a:pt x="23" y="14"/>
                    </a:lnTo>
                    <a:lnTo>
                      <a:pt x="28" y="13"/>
                    </a:lnTo>
                    <a:lnTo>
                      <a:pt x="30" y="14"/>
                    </a:lnTo>
                    <a:lnTo>
                      <a:pt x="31" y="17"/>
                    </a:lnTo>
                    <a:lnTo>
                      <a:pt x="38" y="24"/>
                    </a:lnTo>
                    <a:lnTo>
                      <a:pt x="39" y="25"/>
                    </a:lnTo>
                    <a:lnTo>
                      <a:pt x="42" y="34"/>
                    </a:lnTo>
                    <a:lnTo>
                      <a:pt x="49" y="38"/>
                    </a:lnTo>
                    <a:lnTo>
                      <a:pt x="53" y="37"/>
                    </a:lnTo>
                    <a:lnTo>
                      <a:pt x="56" y="35"/>
                    </a:lnTo>
                    <a:lnTo>
                      <a:pt x="60" y="31"/>
                    </a:lnTo>
                    <a:lnTo>
                      <a:pt x="62" y="28"/>
                    </a:lnTo>
                    <a:lnTo>
                      <a:pt x="62" y="25"/>
                    </a:lnTo>
                    <a:lnTo>
                      <a:pt x="62" y="16"/>
                    </a:lnTo>
                    <a:lnTo>
                      <a:pt x="60" y="10"/>
                    </a:lnTo>
                    <a:lnTo>
                      <a:pt x="60" y="7"/>
                    </a:lnTo>
                    <a:lnTo>
                      <a:pt x="62" y="7"/>
                    </a:lnTo>
                    <a:lnTo>
                      <a:pt x="63" y="6"/>
                    </a:lnTo>
                    <a:lnTo>
                      <a:pt x="69" y="3"/>
                    </a:lnTo>
                    <a:lnTo>
                      <a:pt x="70" y="3"/>
                    </a:lnTo>
                    <a:lnTo>
                      <a:pt x="71" y="3"/>
                    </a:lnTo>
                    <a:lnTo>
                      <a:pt x="76" y="0"/>
                    </a:lnTo>
                    <a:lnTo>
                      <a:pt x="77" y="2"/>
                    </a:lnTo>
                    <a:lnTo>
                      <a:pt x="77" y="3"/>
                    </a:lnTo>
                    <a:lnTo>
                      <a:pt x="78" y="3"/>
                    </a:lnTo>
                    <a:lnTo>
                      <a:pt x="78" y="3"/>
                    </a:lnTo>
                    <a:lnTo>
                      <a:pt x="78" y="2"/>
                    </a:lnTo>
                    <a:lnTo>
                      <a:pt x="78" y="2"/>
                    </a:lnTo>
                    <a:lnTo>
                      <a:pt x="80" y="2"/>
                    </a:lnTo>
                    <a:lnTo>
                      <a:pt x="84" y="5"/>
                    </a:lnTo>
                    <a:lnTo>
                      <a:pt x="85" y="6"/>
                    </a:lnTo>
                    <a:lnTo>
                      <a:pt x="87" y="6"/>
                    </a:lnTo>
                    <a:lnTo>
                      <a:pt x="88" y="7"/>
                    </a:lnTo>
                    <a:lnTo>
                      <a:pt x="91" y="9"/>
                    </a:lnTo>
                    <a:lnTo>
                      <a:pt x="92" y="9"/>
                    </a:lnTo>
                    <a:lnTo>
                      <a:pt x="92" y="10"/>
                    </a:lnTo>
                    <a:lnTo>
                      <a:pt x="95" y="14"/>
                    </a:lnTo>
                    <a:lnTo>
                      <a:pt x="97" y="17"/>
                    </a:lnTo>
                    <a:lnTo>
                      <a:pt x="99" y="18"/>
                    </a:lnTo>
                    <a:lnTo>
                      <a:pt x="101" y="18"/>
                    </a:lnTo>
                    <a:lnTo>
                      <a:pt x="106" y="17"/>
                    </a:lnTo>
                    <a:lnTo>
                      <a:pt x="108" y="16"/>
                    </a:lnTo>
                    <a:lnTo>
                      <a:pt x="109" y="16"/>
                    </a:lnTo>
                    <a:lnTo>
                      <a:pt x="110" y="17"/>
                    </a:lnTo>
                    <a:lnTo>
                      <a:pt x="113" y="18"/>
                    </a:lnTo>
                    <a:lnTo>
                      <a:pt x="116" y="18"/>
                    </a:lnTo>
                    <a:lnTo>
                      <a:pt x="116" y="18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491" name="Monaco">
                <a:extLst>
                  <a:ext uri="{FF2B5EF4-FFF2-40B4-BE49-F238E27FC236}">
                    <a16:creationId xmlns:a16="http://schemas.microsoft.com/office/drawing/2014/main" id="{58E33B70-1480-DF4C-6676-93DF1221BA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1655" y="2838072"/>
                <a:ext cx="0" cy="782"/>
              </a:xfrm>
              <a:custGeom>
                <a:avLst/>
                <a:gdLst>
                  <a:gd name="T0" fmla="*/ 1 h 1"/>
                  <a:gd name="T1" fmla="*/ 1 h 1"/>
                  <a:gd name="T2" fmla="*/ 1 h 1"/>
                  <a:gd name="T3" fmla="*/ 0 h 1"/>
                  <a:gd name="T4" fmla="*/ 0 h 1"/>
                  <a:gd name="T5" fmla="*/ 0 h 1"/>
                  <a:gd name="T6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498" name="Moldova">
                <a:extLst>
                  <a:ext uri="{FF2B5EF4-FFF2-40B4-BE49-F238E27FC236}">
                    <a16:creationId xmlns:a16="http://schemas.microsoft.com/office/drawing/2014/main" id="{06843C0A-F930-4E14-3587-CC866F3BF0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3825" y="2741874"/>
                <a:ext cx="50054" cy="63349"/>
              </a:xfrm>
              <a:custGeom>
                <a:avLst/>
                <a:gdLst>
                  <a:gd name="T0" fmla="*/ 28 w 64"/>
                  <a:gd name="T1" fmla="*/ 77 h 81"/>
                  <a:gd name="T2" fmla="*/ 28 w 64"/>
                  <a:gd name="T3" fmla="*/ 75 h 81"/>
                  <a:gd name="T4" fmla="*/ 28 w 64"/>
                  <a:gd name="T5" fmla="*/ 71 h 81"/>
                  <a:gd name="T6" fmla="*/ 28 w 64"/>
                  <a:gd name="T7" fmla="*/ 67 h 81"/>
                  <a:gd name="T8" fmla="*/ 31 w 64"/>
                  <a:gd name="T9" fmla="*/ 54 h 81"/>
                  <a:gd name="T10" fmla="*/ 29 w 64"/>
                  <a:gd name="T11" fmla="*/ 47 h 81"/>
                  <a:gd name="T12" fmla="*/ 25 w 64"/>
                  <a:gd name="T13" fmla="*/ 39 h 81"/>
                  <a:gd name="T14" fmla="*/ 21 w 64"/>
                  <a:gd name="T15" fmla="*/ 33 h 81"/>
                  <a:gd name="T16" fmla="*/ 17 w 64"/>
                  <a:gd name="T17" fmla="*/ 26 h 81"/>
                  <a:gd name="T18" fmla="*/ 14 w 64"/>
                  <a:gd name="T19" fmla="*/ 22 h 81"/>
                  <a:gd name="T20" fmla="*/ 11 w 64"/>
                  <a:gd name="T21" fmla="*/ 17 h 81"/>
                  <a:gd name="T22" fmla="*/ 8 w 64"/>
                  <a:gd name="T23" fmla="*/ 10 h 81"/>
                  <a:gd name="T24" fmla="*/ 4 w 64"/>
                  <a:gd name="T25" fmla="*/ 6 h 81"/>
                  <a:gd name="T26" fmla="*/ 1 w 64"/>
                  <a:gd name="T27" fmla="*/ 4 h 81"/>
                  <a:gd name="T28" fmla="*/ 7 w 64"/>
                  <a:gd name="T29" fmla="*/ 3 h 81"/>
                  <a:gd name="T30" fmla="*/ 15 w 64"/>
                  <a:gd name="T31" fmla="*/ 1 h 81"/>
                  <a:gd name="T32" fmla="*/ 18 w 64"/>
                  <a:gd name="T33" fmla="*/ 0 h 81"/>
                  <a:gd name="T34" fmla="*/ 22 w 64"/>
                  <a:gd name="T35" fmla="*/ 1 h 81"/>
                  <a:gd name="T36" fmla="*/ 27 w 64"/>
                  <a:gd name="T37" fmla="*/ 4 h 81"/>
                  <a:gd name="T38" fmla="*/ 28 w 64"/>
                  <a:gd name="T39" fmla="*/ 7 h 81"/>
                  <a:gd name="T40" fmla="*/ 32 w 64"/>
                  <a:gd name="T41" fmla="*/ 8 h 81"/>
                  <a:gd name="T42" fmla="*/ 34 w 64"/>
                  <a:gd name="T43" fmla="*/ 8 h 81"/>
                  <a:gd name="T44" fmla="*/ 35 w 64"/>
                  <a:gd name="T45" fmla="*/ 8 h 81"/>
                  <a:gd name="T46" fmla="*/ 42 w 64"/>
                  <a:gd name="T47" fmla="*/ 13 h 81"/>
                  <a:gd name="T48" fmla="*/ 45 w 64"/>
                  <a:gd name="T49" fmla="*/ 14 h 81"/>
                  <a:gd name="T50" fmla="*/ 47 w 64"/>
                  <a:gd name="T51" fmla="*/ 17 h 81"/>
                  <a:gd name="T52" fmla="*/ 47 w 64"/>
                  <a:gd name="T53" fmla="*/ 22 h 81"/>
                  <a:gd name="T54" fmla="*/ 46 w 64"/>
                  <a:gd name="T55" fmla="*/ 26 h 81"/>
                  <a:gd name="T56" fmla="*/ 50 w 64"/>
                  <a:gd name="T57" fmla="*/ 29 h 81"/>
                  <a:gd name="T58" fmla="*/ 53 w 64"/>
                  <a:gd name="T59" fmla="*/ 32 h 81"/>
                  <a:gd name="T60" fmla="*/ 53 w 64"/>
                  <a:gd name="T61" fmla="*/ 35 h 81"/>
                  <a:gd name="T62" fmla="*/ 54 w 64"/>
                  <a:gd name="T63" fmla="*/ 39 h 81"/>
                  <a:gd name="T64" fmla="*/ 54 w 64"/>
                  <a:gd name="T65" fmla="*/ 42 h 81"/>
                  <a:gd name="T66" fmla="*/ 60 w 64"/>
                  <a:gd name="T67" fmla="*/ 46 h 81"/>
                  <a:gd name="T68" fmla="*/ 60 w 64"/>
                  <a:gd name="T69" fmla="*/ 52 h 81"/>
                  <a:gd name="T70" fmla="*/ 63 w 64"/>
                  <a:gd name="T71" fmla="*/ 56 h 81"/>
                  <a:gd name="T72" fmla="*/ 57 w 64"/>
                  <a:gd name="T73" fmla="*/ 54 h 81"/>
                  <a:gd name="T74" fmla="*/ 54 w 64"/>
                  <a:gd name="T75" fmla="*/ 56 h 81"/>
                  <a:gd name="T76" fmla="*/ 52 w 64"/>
                  <a:gd name="T77" fmla="*/ 54 h 81"/>
                  <a:gd name="T78" fmla="*/ 50 w 64"/>
                  <a:gd name="T79" fmla="*/ 54 h 81"/>
                  <a:gd name="T80" fmla="*/ 47 w 64"/>
                  <a:gd name="T81" fmla="*/ 56 h 81"/>
                  <a:gd name="T82" fmla="*/ 47 w 64"/>
                  <a:gd name="T83" fmla="*/ 52 h 81"/>
                  <a:gd name="T84" fmla="*/ 43 w 64"/>
                  <a:gd name="T85" fmla="*/ 54 h 81"/>
                  <a:gd name="T86" fmla="*/ 43 w 64"/>
                  <a:gd name="T87" fmla="*/ 59 h 81"/>
                  <a:gd name="T88" fmla="*/ 43 w 64"/>
                  <a:gd name="T89" fmla="*/ 64 h 81"/>
                  <a:gd name="T90" fmla="*/ 39 w 64"/>
                  <a:gd name="T91" fmla="*/ 70 h 81"/>
                  <a:gd name="T92" fmla="*/ 35 w 64"/>
                  <a:gd name="T93" fmla="*/ 75 h 81"/>
                  <a:gd name="T94" fmla="*/ 35 w 64"/>
                  <a:gd name="T95" fmla="*/ 78 h 81"/>
                  <a:gd name="T96" fmla="*/ 31 w 64"/>
                  <a:gd name="T97" fmla="*/ 79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4" h="81">
                    <a:moveTo>
                      <a:pt x="29" y="81"/>
                    </a:moveTo>
                    <a:lnTo>
                      <a:pt x="28" y="78"/>
                    </a:lnTo>
                    <a:lnTo>
                      <a:pt x="28" y="77"/>
                    </a:lnTo>
                    <a:lnTo>
                      <a:pt x="27" y="77"/>
                    </a:lnTo>
                    <a:lnTo>
                      <a:pt x="28" y="77"/>
                    </a:lnTo>
                    <a:lnTo>
                      <a:pt x="28" y="75"/>
                    </a:lnTo>
                    <a:lnTo>
                      <a:pt x="28" y="75"/>
                    </a:lnTo>
                    <a:lnTo>
                      <a:pt x="28" y="74"/>
                    </a:lnTo>
                    <a:lnTo>
                      <a:pt x="28" y="71"/>
                    </a:lnTo>
                    <a:lnTo>
                      <a:pt x="28" y="71"/>
                    </a:lnTo>
                    <a:lnTo>
                      <a:pt x="28" y="70"/>
                    </a:lnTo>
                    <a:lnTo>
                      <a:pt x="28" y="67"/>
                    </a:lnTo>
                    <a:lnTo>
                      <a:pt x="28" y="63"/>
                    </a:lnTo>
                    <a:lnTo>
                      <a:pt x="29" y="57"/>
                    </a:lnTo>
                    <a:lnTo>
                      <a:pt x="31" y="54"/>
                    </a:lnTo>
                    <a:lnTo>
                      <a:pt x="29" y="53"/>
                    </a:lnTo>
                    <a:lnTo>
                      <a:pt x="31" y="49"/>
                    </a:lnTo>
                    <a:lnTo>
                      <a:pt x="29" y="47"/>
                    </a:lnTo>
                    <a:lnTo>
                      <a:pt x="28" y="45"/>
                    </a:lnTo>
                    <a:lnTo>
                      <a:pt x="27" y="40"/>
                    </a:lnTo>
                    <a:lnTo>
                      <a:pt x="25" y="39"/>
                    </a:lnTo>
                    <a:lnTo>
                      <a:pt x="22" y="36"/>
                    </a:lnTo>
                    <a:lnTo>
                      <a:pt x="22" y="35"/>
                    </a:lnTo>
                    <a:lnTo>
                      <a:pt x="21" y="33"/>
                    </a:lnTo>
                    <a:lnTo>
                      <a:pt x="20" y="32"/>
                    </a:lnTo>
                    <a:lnTo>
                      <a:pt x="18" y="31"/>
                    </a:lnTo>
                    <a:lnTo>
                      <a:pt x="17" y="26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4" y="22"/>
                    </a:lnTo>
                    <a:lnTo>
                      <a:pt x="13" y="21"/>
                    </a:lnTo>
                    <a:lnTo>
                      <a:pt x="13" y="18"/>
                    </a:lnTo>
                    <a:lnTo>
                      <a:pt x="11" y="17"/>
                    </a:lnTo>
                    <a:lnTo>
                      <a:pt x="10" y="14"/>
                    </a:lnTo>
                    <a:lnTo>
                      <a:pt x="8" y="11"/>
                    </a:lnTo>
                    <a:lnTo>
                      <a:pt x="8" y="10"/>
                    </a:lnTo>
                    <a:lnTo>
                      <a:pt x="7" y="8"/>
                    </a:lnTo>
                    <a:lnTo>
                      <a:pt x="6" y="7"/>
                    </a:lnTo>
                    <a:lnTo>
                      <a:pt x="4" y="6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1" y="4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7" y="3"/>
                    </a:lnTo>
                    <a:lnTo>
                      <a:pt x="11" y="3"/>
                    </a:lnTo>
                    <a:lnTo>
                      <a:pt x="14" y="1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7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1" y="0"/>
                    </a:lnTo>
                    <a:lnTo>
                      <a:pt x="22" y="1"/>
                    </a:lnTo>
                    <a:lnTo>
                      <a:pt x="24" y="3"/>
                    </a:lnTo>
                    <a:lnTo>
                      <a:pt x="25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8" y="6"/>
                    </a:lnTo>
                    <a:lnTo>
                      <a:pt x="28" y="7"/>
                    </a:lnTo>
                    <a:lnTo>
                      <a:pt x="31" y="7"/>
                    </a:lnTo>
                    <a:lnTo>
                      <a:pt x="32" y="7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5" y="8"/>
                    </a:lnTo>
                    <a:lnTo>
                      <a:pt x="36" y="8"/>
                    </a:lnTo>
                    <a:lnTo>
                      <a:pt x="39" y="10"/>
                    </a:lnTo>
                    <a:lnTo>
                      <a:pt x="42" y="13"/>
                    </a:lnTo>
                    <a:lnTo>
                      <a:pt x="42" y="14"/>
                    </a:lnTo>
                    <a:lnTo>
                      <a:pt x="43" y="15"/>
                    </a:lnTo>
                    <a:lnTo>
                      <a:pt x="45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7" y="17"/>
                    </a:lnTo>
                    <a:lnTo>
                      <a:pt x="47" y="20"/>
                    </a:lnTo>
                    <a:lnTo>
                      <a:pt x="47" y="20"/>
                    </a:lnTo>
                    <a:lnTo>
                      <a:pt x="47" y="22"/>
                    </a:lnTo>
                    <a:lnTo>
                      <a:pt x="46" y="24"/>
                    </a:lnTo>
                    <a:lnTo>
                      <a:pt x="46" y="25"/>
                    </a:lnTo>
                    <a:lnTo>
                      <a:pt x="46" y="26"/>
                    </a:lnTo>
                    <a:lnTo>
                      <a:pt x="46" y="28"/>
                    </a:lnTo>
                    <a:lnTo>
                      <a:pt x="47" y="28"/>
                    </a:lnTo>
                    <a:lnTo>
                      <a:pt x="50" y="29"/>
                    </a:lnTo>
                    <a:lnTo>
                      <a:pt x="50" y="31"/>
                    </a:lnTo>
                    <a:lnTo>
                      <a:pt x="52" y="32"/>
                    </a:lnTo>
                    <a:lnTo>
                      <a:pt x="53" y="32"/>
                    </a:lnTo>
                    <a:lnTo>
                      <a:pt x="53" y="32"/>
                    </a:lnTo>
                    <a:lnTo>
                      <a:pt x="54" y="33"/>
                    </a:lnTo>
                    <a:lnTo>
                      <a:pt x="53" y="35"/>
                    </a:lnTo>
                    <a:lnTo>
                      <a:pt x="53" y="36"/>
                    </a:lnTo>
                    <a:lnTo>
                      <a:pt x="53" y="38"/>
                    </a:lnTo>
                    <a:lnTo>
                      <a:pt x="54" y="39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42"/>
                    </a:lnTo>
                    <a:lnTo>
                      <a:pt x="57" y="43"/>
                    </a:lnTo>
                    <a:lnTo>
                      <a:pt x="60" y="45"/>
                    </a:lnTo>
                    <a:lnTo>
                      <a:pt x="60" y="46"/>
                    </a:lnTo>
                    <a:lnTo>
                      <a:pt x="61" y="47"/>
                    </a:lnTo>
                    <a:lnTo>
                      <a:pt x="61" y="50"/>
                    </a:lnTo>
                    <a:lnTo>
                      <a:pt x="60" y="52"/>
                    </a:lnTo>
                    <a:lnTo>
                      <a:pt x="64" y="54"/>
                    </a:lnTo>
                    <a:lnTo>
                      <a:pt x="64" y="56"/>
                    </a:lnTo>
                    <a:lnTo>
                      <a:pt x="63" y="56"/>
                    </a:lnTo>
                    <a:lnTo>
                      <a:pt x="60" y="57"/>
                    </a:lnTo>
                    <a:lnTo>
                      <a:pt x="59" y="57"/>
                    </a:lnTo>
                    <a:lnTo>
                      <a:pt x="57" y="54"/>
                    </a:lnTo>
                    <a:lnTo>
                      <a:pt x="57" y="54"/>
                    </a:lnTo>
                    <a:lnTo>
                      <a:pt x="56" y="56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3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0" y="54"/>
                    </a:lnTo>
                    <a:lnTo>
                      <a:pt x="49" y="54"/>
                    </a:lnTo>
                    <a:lnTo>
                      <a:pt x="49" y="56"/>
                    </a:lnTo>
                    <a:lnTo>
                      <a:pt x="47" y="56"/>
                    </a:lnTo>
                    <a:lnTo>
                      <a:pt x="47" y="56"/>
                    </a:lnTo>
                    <a:lnTo>
                      <a:pt x="47" y="53"/>
                    </a:lnTo>
                    <a:lnTo>
                      <a:pt x="47" y="52"/>
                    </a:lnTo>
                    <a:lnTo>
                      <a:pt x="46" y="52"/>
                    </a:lnTo>
                    <a:lnTo>
                      <a:pt x="45" y="53"/>
                    </a:lnTo>
                    <a:lnTo>
                      <a:pt x="43" y="54"/>
                    </a:lnTo>
                    <a:lnTo>
                      <a:pt x="42" y="54"/>
                    </a:lnTo>
                    <a:lnTo>
                      <a:pt x="43" y="57"/>
                    </a:lnTo>
                    <a:lnTo>
                      <a:pt x="43" y="59"/>
                    </a:lnTo>
                    <a:lnTo>
                      <a:pt x="43" y="61"/>
                    </a:lnTo>
                    <a:lnTo>
                      <a:pt x="43" y="63"/>
                    </a:lnTo>
                    <a:lnTo>
                      <a:pt x="43" y="64"/>
                    </a:lnTo>
                    <a:lnTo>
                      <a:pt x="40" y="67"/>
                    </a:lnTo>
                    <a:lnTo>
                      <a:pt x="39" y="68"/>
                    </a:lnTo>
                    <a:lnTo>
                      <a:pt x="39" y="70"/>
                    </a:lnTo>
                    <a:lnTo>
                      <a:pt x="38" y="71"/>
                    </a:lnTo>
                    <a:lnTo>
                      <a:pt x="36" y="72"/>
                    </a:lnTo>
                    <a:lnTo>
                      <a:pt x="35" y="75"/>
                    </a:lnTo>
                    <a:lnTo>
                      <a:pt x="35" y="75"/>
                    </a:lnTo>
                    <a:lnTo>
                      <a:pt x="35" y="77"/>
                    </a:lnTo>
                    <a:lnTo>
                      <a:pt x="35" y="78"/>
                    </a:lnTo>
                    <a:lnTo>
                      <a:pt x="35" y="78"/>
                    </a:lnTo>
                    <a:lnTo>
                      <a:pt x="35" y="79"/>
                    </a:lnTo>
                    <a:lnTo>
                      <a:pt x="31" y="79"/>
                    </a:lnTo>
                    <a:lnTo>
                      <a:pt x="31" y="79"/>
                    </a:lnTo>
                    <a:lnTo>
                      <a:pt x="29" y="81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07" name="Montenegro">
                <a:extLst>
                  <a:ext uri="{FF2B5EF4-FFF2-40B4-BE49-F238E27FC236}">
                    <a16:creationId xmlns:a16="http://schemas.microsoft.com/office/drawing/2014/main" id="{12F3316B-02CD-CF94-8E0F-C415C90753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8075" y="2841983"/>
                <a:ext cx="27373" cy="32848"/>
              </a:xfrm>
              <a:custGeom>
                <a:avLst/>
                <a:gdLst>
                  <a:gd name="T0" fmla="*/ 14 w 35"/>
                  <a:gd name="T1" fmla="*/ 2 h 42"/>
                  <a:gd name="T2" fmla="*/ 14 w 35"/>
                  <a:gd name="T3" fmla="*/ 3 h 42"/>
                  <a:gd name="T4" fmla="*/ 17 w 35"/>
                  <a:gd name="T5" fmla="*/ 6 h 42"/>
                  <a:gd name="T6" fmla="*/ 21 w 35"/>
                  <a:gd name="T7" fmla="*/ 10 h 42"/>
                  <a:gd name="T8" fmla="*/ 24 w 35"/>
                  <a:gd name="T9" fmla="*/ 11 h 42"/>
                  <a:gd name="T10" fmla="*/ 27 w 35"/>
                  <a:gd name="T11" fmla="*/ 13 h 42"/>
                  <a:gd name="T12" fmla="*/ 34 w 35"/>
                  <a:gd name="T13" fmla="*/ 16 h 42"/>
                  <a:gd name="T14" fmla="*/ 35 w 35"/>
                  <a:gd name="T15" fmla="*/ 18 h 42"/>
                  <a:gd name="T16" fmla="*/ 32 w 35"/>
                  <a:gd name="T17" fmla="*/ 20 h 42"/>
                  <a:gd name="T18" fmla="*/ 31 w 35"/>
                  <a:gd name="T19" fmla="*/ 20 h 42"/>
                  <a:gd name="T20" fmla="*/ 28 w 35"/>
                  <a:gd name="T21" fmla="*/ 21 h 42"/>
                  <a:gd name="T22" fmla="*/ 30 w 35"/>
                  <a:gd name="T23" fmla="*/ 24 h 42"/>
                  <a:gd name="T24" fmla="*/ 30 w 35"/>
                  <a:gd name="T25" fmla="*/ 25 h 42"/>
                  <a:gd name="T26" fmla="*/ 27 w 35"/>
                  <a:gd name="T27" fmla="*/ 27 h 42"/>
                  <a:gd name="T28" fmla="*/ 24 w 35"/>
                  <a:gd name="T29" fmla="*/ 27 h 42"/>
                  <a:gd name="T30" fmla="*/ 24 w 35"/>
                  <a:gd name="T31" fmla="*/ 25 h 42"/>
                  <a:gd name="T32" fmla="*/ 24 w 35"/>
                  <a:gd name="T33" fmla="*/ 23 h 42"/>
                  <a:gd name="T34" fmla="*/ 23 w 35"/>
                  <a:gd name="T35" fmla="*/ 24 h 42"/>
                  <a:gd name="T36" fmla="*/ 20 w 35"/>
                  <a:gd name="T37" fmla="*/ 27 h 42"/>
                  <a:gd name="T38" fmla="*/ 17 w 35"/>
                  <a:gd name="T39" fmla="*/ 31 h 42"/>
                  <a:gd name="T40" fmla="*/ 16 w 35"/>
                  <a:gd name="T41" fmla="*/ 35 h 42"/>
                  <a:gd name="T42" fmla="*/ 17 w 35"/>
                  <a:gd name="T43" fmla="*/ 36 h 42"/>
                  <a:gd name="T44" fmla="*/ 17 w 35"/>
                  <a:gd name="T45" fmla="*/ 39 h 42"/>
                  <a:gd name="T46" fmla="*/ 17 w 35"/>
                  <a:gd name="T47" fmla="*/ 42 h 42"/>
                  <a:gd name="T48" fmla="*/ 13 w 35"/>
                  <a:gd name="T49" fmla="*/ 38 h 42"/>
                  <a:gd name="T50" fmla="*/ 3 w 35"/>
                  <a:gd name="T51" fmla="*/ 29 h 42"/>
                  <a:gd name="T52" fmla="*/ 3 w 35"/>
                  <a:gd name="T53" fmla="*/ 28 h 42"/>
                  <a:gd name="T54" fmla="*/ 3 w 35"/>
                  <a:gd name="T55" fmla="*/ 28 h 42"/>
                  <a:gd name="T56" fmla="*/ 2 w 35"/>
                  <a:gd name="T57" fmla="*/ 28 h 42"/>
                  <a:gd name="T58" fmla="*/ 0 w 35"/>
                  <a:gd name="T59" fmla="*/ 25 h 42"/>
                  <a:gd name="T60" fmla="*/ 0 w 35"/>
                  <a:gd name="T61" fmla="*/ 25 h 42"/>
                  <a:gd name="T62" fmla="*/ 2 w 35"/>
                  <a:gd name="T63" fmla="*/ 24 h 42"/>
                  <a:gd name="T64" fmla="*/ 2 w 35"/>
                  <a:gd name="T65" fmla="*/ 23 h 42"/>
                  <a:gd name="T66" fmla="*/ 0 w 35"/>
                  <a:gd name="T67" fmla="*/ 18 h 42"/>
                  <a:gd name="T68" fmla="*/ 0 w 35"/>
                  <a:gd name="T69" fmla="*/ 14 h 42"/>
                  <a:gd name="T70" fmla="*/ 3 w 35"/>
                  <a:gd name="T71" fmla="*/ 14 h 42"/>
                  <a:gd name="T72" fmla="*/ 3 w 35"/>
                  <a:gd name="T73" fmla="*/ 10 h 42"/>
                  <a:gd name="T74" fmla="*/ 5 w 35"/>
                  <a:gd name="T75" fmla="*/ 9 h 42"/>
                  <a:gd name="T76" fmla="*/ 7 w 35"/>
                  <a:gd name="T77" fmla="*/ 6 h 42"/>
                  <a:gd name="T78" fmla="*/ 9 w 35"/>
                  <a:gd name="T79" fmla="*/ 6 h 42"/>
                  <a:gd name="T80" fmla="*/ 10 w 35"/>
                  <a:gd name="T81" fmla="*/ 7 h 42"/>
                  <a:gd name="T82" fmla="*/ 10 w 35"/>
                  <a:gd name="T83" fmla="*/ 3 h 42"/>
                  <a:gd name="T84" fmla="*/ 9 w 35"/>
                  <a:gd name="T85" fmla="*/ 2 h 42"/>
                  <a:gd name="T86" fmla="*/ 10 w 35"/>
                  <a:gd name="T87" fmla="*/ 0 h 42"/>
                  <a:gd name="T88" fmla="*/ 13 w 35"/>
                  <a:gd name="T89" fmla="*/ 2 h 42"/>
                  <a:gd name="T90" fmla="*/ 14 w 35"/>
                  <a:gd name="T9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5" h="42">
                    <a:moveTo>
                      <a:pt x="14" y="0"/>
                    </a:moveTo>
                    <a:lnTo>
                      <a:pt x="14" y="2"/>
                    </a:lnTo>
                    <a:lnTo>
                      <a:pt x="14" y="2"/>
                    </a:lnTo>
                    <a:lnTo>
                      <a:pt x="14" y="3"/>
                    </a:lnTo>
                    <a:lnTo>
                      <a:pt x="16" y="4"/>
                    </a:lnTo>
                    <a:lnTo>
                      <a:pt x="17" y="6"/>
                    </a:lnTo>
                    <a:lnTo>
                      <a:pt x="20" y="9"/>
                    </a:lnTo>
                    <a:lnTo>
                      <a:pt x="21" y="10"/>
                    </a:lnTo>
                    <a:lnTo>
                      <a:pt x="23" y="10"/>
                    </a:lnTo>
                    <a:lnTo>
                      <a:pt x="24" y="11"/>
                    </a:lnTo>
                    <a:lnTo>
                      <a:pt x="26" y="11"/>
                    </a:lnTo>
                    <a:lnTo>
                      <a:pt x="27" y="13"/>
                    </a:lnTo>
                    <a:lnTo>
                      <a:pt x="31" y="16"/>
                    </a:lnTo>
                    <a:lnTo>
                      <a:pt x="34" y="16"/>
                    </a:lnTo>
                    <a:lnTo>
                      <a:pt x="35" y="17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1" y="20"/>
                    </a:lnTo>
                    <a:lnTo>
                      <a:pt x="30" y="20"/>
                    </a:lnTo>
                    <a:lnTo>
                      <a:pt x="28" y="21"/>
                    </a:lnTo>
                    <a:lnTo>
                      <a:pt x="30" y="23"/>
                    </a:lnTo>
                    <a:lnTo>
                      <a:pt x="30" y="24"/>
                    </a:lnTo>
                    <a:lnTo>
                      <a:pt x="30" y="25"/>
                    </a:lnTo>
                    <a:lnTo>
                      <a:pt x="30" y="25"/>
                    </a:lnTo>
                    <a:lnTo>
                      <a:pt x="30" y="25"/>
                    </a:lnTo>
                    <a:lnTo>
                      <a:pt x="27" y="27"/>
                    </a:lnTo>
                    <a:lnTo>
                      <a:pt x="26" y="27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4" y="25"/>
                    </a:lnTo>
                    <a:lnTo>
                      <a:pt x="24" y="24"/>
                    </a:lnTo>
                    <a:lnTo>
                      <a:pt x="24" y="23"/>
                    </a:lnTo>
                    <a:lnTo>
                      <a:pt x="23" y="23"/>
                    </a:lnTo>
                    <a:lnTo>
                      <a:pt x="23" y="24"/>
                    </a:lnTo>
                    <a:lnTo>
                      <a:pt x="21" y="25"/>
                    </a:lnTo>
                    <a:lnTo>
                      <a:pt x="20" y="27"/>
                    </a:lnTo>
                    <a:lnTo>
                      <a:pt x="19" y="28"/>
                    </a:lnTo>
                    <a:lnTo>
                      <a:pt x="17" y="31"/>
                    </a:lnTo>
                    <a:lnTo>
                      <a:pt x="16" y="32"/>
                    </a:lnTo>
                    <a:lnTo>
                      <a:pt x="16" y="35"/>
                    </a:lnTo>
                    <a:lnTo>
                      <a:pt x="16" y="35"/>
                    </a:lnTo>
                    <a:lnTo>
                      <a:pt x="17" y="36"/>
                    </a:lnTo>
                    <a:lnTo>
                      <a:pt x="17" y="38"/>
                    </a:lnTo>
                    <a:lnTo>
                      <a:pt x="17" y="39"/>
                    </a:lnTo>
                    <a:lnTo>
                      <a:pt x="17" y="41"/>
                    </a:lnTo>
                    <a:lnTo>
                      <a:pt x="17" y="42"/>
                    </a:lnTo>
                    <a:lnTo>
                      <a:pt x="13" y="41"/>
                    </a:lnTo>
                    <a:lnTo>
                      <a:pt x="13" y="38"/>
                    </a:lnTo>
                    <a:lnTo>
                      <a:pt x="9" y="32"/>
                    </a:lnTo>
                    <a:lnTo>
                      <a:pt x="3" y="29"/>
                    </a:lnTo>
                    <a:lnTo>
                      <a:pt x="3" y="29"/>
                    </a:lnTo>
                    <a:lnTo>
                      <a:pt x="3" y="28"/>
                    </a:lnTo>
                    <a:lnTo>
                      <a:pt x="3" y="28"/>
                    </a:lnTo>
                    <a:lnTo>
                      <a:pt x="3" y="2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3" y="14"/>
                    </a:lnTo>
                    <a:lnTo>
                      <a:pt x="3" y="11"/>
                    </a:lnTo>
                    <a:lnTo>
                      <a:pt x="3" y="10"/>
                    </a:lnTo>
                    <a:lnTo>
                      <a:pt x="5" y="10"/>
                    </a:lnTo>
                    <a:lnTo>
                      <a:pt x="5" y="9"/>
                    </a:lnTo>
                    <a:lnTo>
                      <a:pt x="6" y="7"/>
                    </a:lnTo>
                    <a:lnTo>
                      <a:pt x="7" y="6"/>
                    </a:lnTo>
                    <a:lnTo>
                      <a:pt x="9" y="6"/>
                    </a:lnTo>
                    <a:lnTo>
                      <a:pt x="9" y="6"/>
                    </a:lnTo>
                    <a:lnTo>
                      <a:pt x="10" y="7"/>
                    </a:lnTo>
                    <a:lnTo>
                      <a:pt x="10" y="7"/>
                    </a:lnTo>
                    <a:lnTo>
                      <a:pt x="12" y="6"/>
                    </a:lnTo>
                    <a:lnTo>
                      <a:pt x="10" y="3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3" y="2"/>
                    </a:lnTo>
                    <a:lnTo>
                      <a:pt x="13" y="0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08" name="Macedonia">
                <a:extLst>
                  <a:ext uri="{FF2B5EF4-FFF2-40B4-BE49-F238E27FC236}">
                    <a16:creationId xmlns:a16="http://schemas.microsoft.com/office/drawing/2014/main" id="{3931DB4F-262E-19AB-EA47-07DE11F052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7012" y="2864664"/>
                <a:ext cx="35976" cy="29720"/>
              </a:xfrm>
              <a:custGeom>
                <a:avLst/>
                <a:gdLst>
                  <a:gd name="T0" fmla="*/ 37 w 46"/>
                  <a:gd name="T1" fmla="*/ 6 h 38"/>
                  <a:gd name="T2" fmla="*/ 40 w 46"/>
                  <a:gd name="T3" fmla="*/ 9 h 38"/>
                  <a:gd name="T4" fmla="*/ 43 w 46"/>
                  <a:gd name="T5" fmla="*/ 10 h 38"/>
                  <a:gd name="T6" fmla="*/ 44 w 46"/>
                  <a:gd name="T7" fmla="*/ 16 h 38"/>
                  <a:gd name="T8" fmla="*/ 46 w 46"/>
                  <a:gd name="T9" fmla="*/ 16 h 38"/>
                  <a:gd name="T10" fmla="*/ 46 w 46"/>
                  <a:gd name="T11" fmla="*/ 19 h 38"/>
                  <a:gd name="T12" fmla="*/ 44 w 46"/>
                  <a:gd name="T13" fmla="*/ 26 h 38"/>
                  <a:gd name="T14" fmla="*/ 41 w 46"/>
                  <a:gd name="T15" fmla="*/ 26 h 38"/>
                  <a:gd name="T16" fmla="*/ 41 w 46"/>
                  <a:gd name="T17" fmla="*/ 30 h 38"/>
                  <a:gd name="T18" fmla="*/ 37 w 46"/>
                  <a:gd name="T19" fmla="*/ 31 h 38"/>
                  <a:gd name="T20" fmla="*/ 32 w 46"/>
                  <a:gd name="T21" fmla="*/ 30 h 38"/>
                  <a:gd name="T22" fmla="*/ 30 w 46"/>
                  <a:gd name="T23" fmla="*/ 31 h 38"/>
                  <a:gd name="T24" fmla="*/ 26 w 46"/>
                  <a:gd name="T25" fmla="*/ 31 h 38"/>
                  <a:gd name="T26" fmla="*/ 21 w 46"/>
                  <a:gd name="T27" fmla="*/ 37 h 38"/>
                  <a:gd name="T28" fmla="*/ 18 w 46"/>
                  <a:gd name="T29" fmla="*/ 37 h 38"/>
                  <a:gd name="T30" fmla="*/ 15 w 46"/>
                  <a:gd name="T31" fmla="*/ 37 h 38"/>
                  <a:gd name="T32" fmla="*/ 11 w 46"/>
                  <a:gd name="T33" fmla="*/ 37 h 38"/>
                  <a:gd name="T34" fmla="*/ 9 w 46"/>
                  <a:gd name="T35" fmla="*/ 37 h 38"/>
                  <a:gd name="T36" fmla="*/ 7 w 46"/>
                  <a:gd name="T37" fmla="*/ 35 h 38"/>
                  <a:gd name="T38" fmla="*/ 4 w 46"/>
                  <a:gd name="T39" fmla="*/ 35 h 38"/>
                  <a:gd name="T40" fmla="*/ 2 w 46"/>
                  <a:gd name="T41" fmla="*/ 33 h 38"/>
                  <a:gd name="T42" fmla="*/ 0 w 46"/>
                  <a:gd name="T43" fmla="*/ 27 h 38"/>
                  <a:gd name="T44" fmla="*/ 1 w 46"/>
                  <a:gd name="T45" fmla="*/ 24 h 38"/>
                  <a:gd name="T46" fmla="*/ 0 w 46"/>
                  <a:gd name="T47" fmla="*/ 20 h 38"/>
                  <a:gd name="T48" fmla="*/ 1 w 46"/>
                  <a:gd name="T49" fmla="*/ 19 h 38"/>
                  <a:gd name="T50" fmla="*/ 1 w 46"/>
                  <a:gd name="T51" fmla="*/ 13 h 38"/>
                  <a:gd name="T52" fmla="*/ 2 w 46"/>
                  <a:gd name="T53" fmla="*/ 13 h 38"/>
                  <a:gd name="T54" fmla="*/ 5 w 46"/>
                  <a:gd name="T55" fmla="*/ 13 h 38"/>
                  <a:gd name="T56" fmla="*/ 5 w 46"/>
                  <a:gd name="T57" fmla="*/ 9 h 38"/>
                  <a:gd name="T58" fmla="*/ 11 w 46"/>
                  <a:gd name="T59" fmla="*/ 6 h 38"/>
                  <a:gd name="T60" fmla="*/ 14 w 46"/>
                  <a:gd name="T61" fmla="*/ 6 h 38"/>
                  <a:gd name="T62" fmla="*/ 15 w 46"/>
                  <a:gd name="T63" fmla="*/ 7 h 38"/>
                  <a:gd name="T64" fmla="*/ 15 w 46"/>
                  <a:gd name="T65" fmla="*/ 5 h 38"/>
                  <a:gd name="T66" fmla="*/ 19 w 46"/>
                  <a:gd name="T67" fmla="*/ 3 h 38"/>
                  <a:gd name="T68" fmla="*/ 21 w 46"/>
                  <a:gd name="T69" fmla="*/ 3 h 38"/>
                  <a:gd name="T70" fmla="*/ 25 w 46"/>
                  <a:gd name="T71" fmla="*/ 2 h 38"/>
                  <a:gd name="T72" fmla="*/ 26 w 46"/>
                  <a:gd name="T73" fmla="*/ 2 h 38"/>
                  <a:gd name="T74" fmla="*/ 29 w 46"/>
                  <a:gd name="T75" fmla="*/ 2 h 38"/>
                  <a:gd name="T76" fmla="*/ 32 w 46"/>
                  <a:gd name="T77" fmla="*/ 0 h 38"/>
                  <a:gd name="T78" fmla="*/ 33 w 46"/>
                  <a:gd name="T79" fmla="*/ 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6" h="38">
                    <a:moveTo>
                      <a:pt x="34" y="2"/>
                    </a:moveTo>
                    <a:lnTo>
                      <a:pt x="37" y="6"/>
                    </a:lnTo>
                    <a:lnTo>
                      <a:pt x="39" y="7"/>
                    </a:lnTo>
                    <a:lnTo>
                      <a:pt x="40" y="9"/>
                    </a:lnTo>
                    <a:lnTo>
                      <a:pt x="43" y="9"/>
                    </a:lnTo>
                    <a:lnTo>
                      <a:pt x="43" y="10"/>
                    </a:lnTo>
                    <a:lnTo>
                      <a:pt x="44" y="13"/>
                    </a:lnTo>
                    <a:lnTo>
                      <a:pt x="44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7"/>
                    </a:lnTo>
                    <a:lnTo>
                      <a:pt x="46" y="19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3" y="26"/>
                    </a:lnTo>
                    <a:lnTo>
                      <a:pt x="41" y="26"/>
                    </a:lnTo>
                    <a:lnTo>
                      <a:pt x="41" y="27"/>
                    </a:lnTo>
                    <a:lnTo>
                      <a:pt x="41" y="30"/>
                    </a:lnTo>
                    <a:lnTo>
                      <a:pt x="39" y="31"/>
                    </a:lnTo>
                    <a:lnTo>
                      <a:pt x="37" y="31"/>
                    </a:lnTo>
                    <a:lnTo>
                      <a:pt x="34" y="31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0" y="31"/>
                    </a:lnTo>
                    <a:lnTo>
                      <a:pt x="28" y="31"/>
                    </a:lnTo>
                    <a:lnTo>
                      <a:pt x="26" y="31"/>
                    </a:lnTo>
                    <a:lnTo>
                      <a:pt x="23" y="35"/>
                    </a:lnTo>
                    <a:lnTo>
                      <a:pt x="21" y="37"/>
                    </a:lnTo>
                    <a:lnTo>
                      <a:pt x="21" y="37"/>
                    </a:lnTo>
                    <a:lnTo>
                      <a:pt x="18" y="37"/>
                    </a:lnTo>
                    <a:lnTo>
                      <a:pt x="16" y="37"/>
                    </a:lnTo>
                    <a:lnTo>
                      <a:pt x="15" y="37"/>
                    </a:lnTo>
                    <a:lnTo>
                      <a:pt x="12" y="37"/>
                    </a:lnTo>
                    <a:lnTo>
                      <a:pt x="11" y="37"/>
                    </a:lnTo>
                    <a:lnTo>
                      <a:pt x="9" y="38"/>
                    </a:lnTo>
                    <a:lnTo>
                      <a:pt x="9" y="37"/>
                    </a:lnTo>
                    <a:lnTo>
                      <a:pt x="8" y="37"/>
                    </a:lnTo>
                    <a:lnTo>
                      <a:pt x="7" y="35"/>
                    </a:lnTo>
                    <a:lnTo>
                      <a:pt x="5" y="37"/>
                    </a:lnTo>
                    <a:lnTo>
                      <a:pt x="4" y="35"/>
                    </a:lnTo>
                    <a:lnTo>
                      <a:pt x="4" y="33"/>
                    </a:lnTo>
                    <a:lnTo>
                      <a:pt x="2" y="33"/>
                    </a:lnTo>
                    <a:lnTo>
                      <a:pt x="1" y="31"/>
                    </a:lnTo>
                    <a:lnTo>
                      <a:pt x="0" y="27"/>
                    </a:lnTo>
                    <a:lnTo>
                      <a:pt x="0" y="26"/>
                    </a:lnTo>
                    <a:lnTo>
                      <a:pt x="1" y="24"/>
                    </a:lnTo>
                    <a:lnTo>
                      <a:pt x="0" y="21"/>
                    </a:lnTo>
                    <a:lnTo>
                      <a:pt x="0" y="20"/>
                    </a:lnTo>
                    <a:lnTo>
                      <a:pt x="1" y="20"/>
                    </a:lnTo>
                    <a:lnTo>
                      <a:pt x="1" y="19"/>
                    </a:lnTo>
                    <a:lnTo>
                      <a:pt x="1" y="17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2" y="13"/>
                    </a:lnTo>
                    <a:lnTo>
                      <a:pt x="4" y="13"/>
                    </a:lnTo>
                    <a:lnTo>
                      <a:pt x="5" y="13"/>
                    </a:lnTo>
                    <a:lnTo>
                      <a:pt x="5" y="12"/>
                    </a:lnTo>
                    <a:lnTo>
                      <a:pt x="5" y="9"/>
                    </a:lnTo>
                    <a:lnTo>
                      <a:pt x="5" y="7"/>
                    </a:lnTo>
                    <a:lnTo>
                      <a:pt x="11" y="6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5" y="6"/>
                    </a:lnTo>
                    <a:lnTo>
                      <a:pt x="15" y="5"/>
                    </a:lnTo>
                    <a:lnTo>
                      <a:pt x="16" y="5"/>
                    </a:lnTo>
                    <a:lnTo>
                      <a:pt x="19" y="3"/>
                    </a:lnTo>
                    <a:lnTo>
                      <a:pt x="19" y="3"/>
                    </a:lnTo>
                    <a:lnTo>
                      <a:pt x="21" y="3"/>
                    </a:lnTo>
                    <a:lnTo>
                      <a:pt x="23" y="3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26" y="2"/>
                    </a:lnTo>
                    <a:lnTo>
                      <a:pt x="28" y="2"/>
                    </a:lnTo>
                    <a:lnTo>
                      <a:pt x="29" y="2"/>
                    </a:lnTo>
                    <a:lnTo>
                      <a:pt x="30" y="2"/>
                    </a:lnTo>
                    <a:lnTo>
                      <a:pt x="32" y="0"/>
                    </a:lnTo>
                    <a:lnTo>
                      <a:pt x="33" y="0"/>
                    </a:lnTo>
                    <a:lnTo>
                      <a:pt x="33" y="2"/>
                    </a:lnTo>
                    <a:lnTo>
                      <a:pt x="34" y="2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09" name="Malta">
                <a:extLst>
                  <a:ext uri="{FF2B5EF4-FFF2-40B4-BE49-F238E27FC236}">
                    <a16:creationId xmlns:a16="http://schemas.microsoft.com/office/drawing/2014/main" id="{B26583AF-8971-BBE3-363C-6E37BAFAD9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27071" y="2980414"/>
                <a:ext cx="5475" cy="4692"/>
              </a:xfrm>
              <a:custGeom>
                <a:avLst/>
                <a:gdLst>
                  <a:gd name="T0" fmla="*/ 3 w 7"/>
                  <a:gd name="T1" fmla="*/ 2 h 6"/>
                  <a:gd name="T2" fmla="*/ 2 w 7"/>
                  <a:gd name="T3" fmla="*/ 2 h 6"/>
                  <a:gd name="T4" fmla="*/ 0 w 7"/>
                  <a:gd name="T5" fmla="*/ 0 h 6"/>
                  <a:gd name="T6" fmla="*/ 0 w 7"/>
                  <a:gd name="T7" fmla="*/ 0 h 6"/>
                  <a:gd name="T8" fmla="*/ 2 w 7"/>
                  <a:gd name="T9" fmla="*/ 0 h 6"/>
                  <a:gd name="T10" fmla="*/ 3 w 7"/>
                  <a:gd name="T11" fmla="*/ 0 h 6"/>
                  <a:gd name="T12" fmla="*/ 3 w 7"/>
                  <a:gd name="T13" fmla="*/ 0 h 6"/>
                  <a:gd name="T14" fmla="*/ 3 w 7"/>
                  <a:gd name="T15" fmla="*/ 2 h 6"/>
                  <a:gd name="T16" fmla="*/ 7 w 7"/>
                  <a:gd name="T17" fmla="*/ 4 h 6"/>
                  <a:gd name="T18" fmla="*/ 7 w 7"/>
                  <a:gd name="T19" fmla="*/ 6 h 6"/>
                  <a:gd name="T20" fmla="*/ 6 w 7"/>
                  <a:gd name="T21" fmla="*/ 6 h 6"/>
                  <a:gd name="T22" fmla="*/ 3 w 7"/>
                  <a:gd name="T23" fmla="*/ 4 h 6"/>
                  <a:gd name="T24" fmla="*/ 3 w 7"/>
                  <a:gd name="T25" fmla="*/ 2 h 6"/>
                  <a:gd name="T26" fmla="*/ 6 w 7"/>
                  <a:gd name="T27" fmla="*/ 3 h 6"/>
                  <a:gd name="T28" fmla="*/ 7 w 7"/>
                  <a:gd name="T29" fmla="*/ 4 h 6"/>
                  <a:gd name="T30" fmla="*/ 7 w 7"/>
                  <a:gd name="T3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" h="6">
                    <a:moveTo>
                      <a:pt x="3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2"/>
                    </a:lnTo>
                    <a:close/>
                    <a:moveTo>
                      <a:pt x="7" y="4"/>
                    </a:moveTo>
                    <a:lnTo>
                      <a:pt x="7" y="6"/>
                    </a:lnTo>
                    <a:lnTo>
                      <a:pt x="6" y="6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6" y="3"/>
                    </a:lnTo>
                    <a:lnTo>
                      <a:pt x="7" y="4"/>
                    </a:lnTo>
                    <a:lnTo>
                      <a:pt x="7" y="4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15" name="Netherlands">
                <a:extLst>
                  <a:ext uri="{FF2B5EF4-FFF2-40B4-BE49-F238E27FC236}">
                    <a16:creationId xmlns:a16="http://schemas.microsoft.com/office/drawing/2014/main" id="{BA1094FA-7CC3-4B91-55ED-D7B15C2778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73781" y="2625342"/>
                <a:ext cx="54747" cy="66478"/>
              </a:xfrm>
              <a:custGeom>
                <a:avLst/>
                <a:gdLst>
                  <a:gd name="T0" fmla="*/ 40 w 70"/>
                  <a:gd name="T1" fmla="*/ 5 h 85"/>
                  <a:gd name="T2" fmla="*/ 43 w 70"/>
                  <a:gd name="T3" fmla="*/ 5 h 85"/>
                  <a:gd name="T4" fmla="*/ 43 w 70"/>
                  <a:gd name="T5" fmla="*/ 5 h 85"/>
                  <a:gd name="T6" fmla="*/ 54 w 70"/>
                  <a:gd name="T7" fmla="*/ 4 h 85"/>
                  <a:gd name="T8" fmla="*/ 52 w 70"/>
                  <a:gd name="T9" fmla="*/ 5 h 85"/>
                  <a:gd name="T10" fmla="*/ 28 w 70"/>
                  <a:gd name="T11" fmla="*/ 12 h 85"/>
                  <a:gd name="T12" fmla="*/ 61 w 70"/>
                  <a:gd name="T13" fmla="*/ 0 h 85"/>
                  <a:gd name="T14" fmla="*/ 63 w 70"/>
                  <a:gd name="T15" fmla="*/ 0 h 85"/>
                  <a:gd name="T16" fmla="*/ 4 w 70"/>
                  <a:gd name="T17" fmla="*/ 67 h 85"/>
                  <a:gd name="T18" fmla="*/ 1 w 70"/>
                  <a:gd name="T19" fmla="*/ 71 h 85"/>
                  <a:gd name="T20" fmla="*/ 4 w 70"/>
                  <a:gd name="T21" fmla="*/ 70 h 85"/>
                  <a:gd name="T22" fmla="*/ 8 w 70"/>
                  <a:gd name="T23" fmla="*/ 72 h 85"/>
                  <a:gd name="T24" fmla="*/ 15 w 70"/>
                  <a:gd name="T25" fmla="*/ 68 h 85"/>
                  <a:gd name="T26" fmla="*/ 70 w 70"/>
                  <a:gd name="T27" fmla="*/ 11 h 85"/>
                  <a:gd name="T28" fmla="*/ 63 w 70"/>
                  <a:gd name="T29" fmla="*/ 5 h 85"/>
                  <a:gd name="T30" fmla="*/ 46 w 70"/>
                  <a:gd name="T31" fmla="*/ 8 h 85"/>
                  <a:gd name="T32" fmla="*/ 31 w 70"/>
                  <a:gd name="T33" fmla="*/ 21 h 85"/>
                  <a:gd name="T34" fmla="*/ 25 w 70"/>
                  <a:gd name="T35" fmla="*/ 24 h 85"/>
                  <a:gd name="T36" fmla="*/ 18 w 70"/>
                  <a:gd name="T37" fmla="*/ 43 h 85"/>
                  <a:gd name="T38" fmla="*/ 13 w 70"/>
                  <a:gd name="T39" fmla="*/ 51 h 85"/>
                  <a:gd name="T40" fmla="*/ 15 w 70"/>
                  <a:gd name="T41" fmla="*/ 60 h 85"/>
                  <a:gd name="T42" fmla="*/ 15 w 70"/>
                  <a:gd name="T43" fmla="*/ 63 h 85"/>
                  <a:gd name="T44" fmla="*/ 14 w 70"/>
                  <a:gd name="T45" fmla="*/ 65 h 85"/>
                  <a:gd name="T46" fmla="*/ 3 w 70"/>
                  <a:gd name="T47" fmla="*/ 61 h 85"/>
                  <a:gd name="T48" fmla="*/ 7 w 70"/>
                  <a:gd name="T49" fmla="*/ 65 h 85"/>
                  <a:gd name="T50" fmla="*/ 15 w 70"/>
                  <a:gd name="T51" fmla="*/ 67 h 85"/>
                  <a:gd name="T52" fmla="*/ 20 w 70"/>
                  <a:gd name="T53" fmla="*/ 65 h 85"/>
                  <a:gd name="T54" fmla="*/ 22 w 70"/>
                  <a:gd name="T55" fmla="*/ 65 h 85"/>
                  <a:gd name="T56" fmla="*/ 26 w 70"/>
                  <a:gd name="T57" fmla="*/ 65 h 85"/>
                  <a:gd name="T58" fmla="*/ 29 w 70"/>
                  <a:gd name="T59" fmla="*/ 67 h 85"/>
                  <a:gd name="T60" fmla="*/ 32 w 70"/>
                  <a:gd name="T61" fmla="*/ 67 h 85"/>
                  <a:gd name="T62" fmla="*/ 38 w 70"/>
                  <a:gd name="T63" fmla="*/ 70 h 85"/>
                  <a:gd name="T64" fmla="*/ 42 w 70"/>
                  <a:gd name="T65" fmla="*/ 72 h 85"/>
                  <a:gd name="T66" fmla="*/ 45 w 70"/>
                  <a:gd name="T67" fmla="*/ 75 h 85"/>
                  <a:gd name="T68" fmla="*/ 43 w 70"/>
                  <a:gd name="T69" fmla="*/ 81 h 85"/>
                  <a:gd name="T70" fmla="*/ 43 w 70"/>
                  <a:gd name="T71" fmla="*/ 85 h 85"/>
                  <a:gd name="T72" fmla="*/ 49 w 70"/>
                  <a:gd name="T73" fmla="*/ 85 h 85"/>
                  <a:gd name="T74" fmla="*/ 46 w 70"/>
                  <a:gd name="T75" fmla="*/ 78 h 85"/>
                  <a:gd name="T76" fmla="*/ 47 w 70"/>
                  <a:gd name="T77" fmla="*/ 77 h 85"/>
                  <a:gd name="T78" fmla="*/ 50 w 70"/>
                  <a:gd name="T79" fmla="*/ 74 h 85"/>
                  <a:gd name="T80" fmla="*/ 52 w 70"/>
                  <a:gd name="T81" fmla="*/ 68 h 85"/>
                  <a:gd name="T82" fmla="*/ 50 w 70"/>
                  <a:gd name="T83" fmla="*/ 63 h 85"/>
                  <a:gd name="T84" fmla="*/ 47 w 70"/>
                  <a:gd name="T85" fmla="*/ 56 h 85"/>
                  <a:gd name="T86" fmla="*/ 50 w 70"/>
                  <a:gd name="T87" fmla="*/ 53 h 85"/>
                  <a:gd name="T88" fmla="*/ 54 w 70"/>
                  <a:gd name="T89" fmla="*/ 54 h 85"/>
                  <a:gd name="T90" fmla="*/ 63 w 70"/>
                  <a:gd name="T91" fmla="*/ 51 h 85"/>
                  <a:gd name="T92" fmla="*/ 61 w 70"/>
                  <a:gd name="T93" fmla="*/ 47 h 85"/>
                  <a:gd name="T94" fmla="*/ 64 w 70"/>
                  <a:gd name="T95" fmla="*/ 45 h 85"/>
                  <a:gd name="T96" fmla="*/ 67 w 70"/>
                  <a:gd name="T97" fmla="*/ 38 h 85"/>
                  <a:gd name="T98" fmla="*/ 63 w 70"/>
                  <a:gd name="T99" fmla="*/ 36 h 85"/>
                  <a:gd name="T100" fmla="*/ 61 w 70"/>
                  <a:gd name="T101" fmla="*/ 33 h 85"/>
                  <a:gd name="T102" fmla="*/ 61 w 70"/>
                  <a:gd name="T103" fmla="*/ 31 h 85"/>
                  <a:gd name="T104" fmla="*/ 68 w 70"/>
                  <a:gd name="T105" fmla="*/ 22 h 85"/>
                  <a:gd name="T106" fmla="*/ 70 w 70"/>
                  <a:gd name="T107" fmla="*/ 11 h 85"/>
                  <a:gd name="T108" fmla="*/ 14 w 70"/>
                  <a:gd name="T109" fmla="*/ 60 h 85"/>
                  <a:gd name="T110" fmla="*/ 8 w 70"/>
                  <a:gd name="T111" fmla="*/ 57 h 85"/>
                  <a:gd name="T112" fmla="*/ 26 w 70"/>
                  <a:gd name="T113" fmla="*/ 19 h 85"/>
                  <a:gd name="T114" fmla="*/ 25 w 70"/>
                  <a:gd name="T115" fmla="*/ 1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0" h="85">
                    <a:moveTo>
                      <a:pt x="35" y="8"/>
                    </a:moveTo>
                    <a:lnTo>
                      <a:pt x="33" y="7"/>
                    </a:lnTo>
                    <a:lnTo>
                      <a:pt x="38" y="7"/>
                    </a:lnTo>
                    <a:lnTo>
                      <a:pt x="40" y="5"/>
                    </a:lnTo>
                    <a:lnTo>
                      <a:pt x="40" y="5"/>
                    </a:lnTo>
                    <a:lnTo>
                      <a:pt x="36" y="8"/>
                    </a:lnTo>
                    <a:lnTo>
                      <a:pt x="35" y="8"/>
                    </a:lnTo>
                    <a:close/>
                    <a:moveTo>
                      <a:pt x="43" y="5"/>
                    </a:moveTo>
                    <a:lnTo>
                      <a:pt x="47" y="5"/>
                    </a:lnTo>
                    <a:lnTo>
                      <a:pt x="47" y="5"/>
                    </a:lnTo>
                    <a:lnTo>
                      <a:pt x="46" y="5"/>
                    </a:lnTo>
                    <a:lnTo>
                      <a:pt x="43" y="5"/>
                    </a:lnTo>
                    <a:lnTo>
                      <a:pt x="42" y="5"/>
                    </a:lnTo>
                    <a:lnTo>
                      <a:pt x="42" y="5"/>
                    </a:lnTo>
                    <a:lnTo>
                      <a:pt x="43" y="5"/>
                    </a:lnTo>
                    <a:close/>
                    <a:moveTo>
                      <a:pt x="54" y="4"/>
                    </a:moveTo>
                    <a:lnTo>
                      <a:pt x="53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5"/>
                    </a:lnTo>
                    <a:lnTo>
                      <a:pt x="54" y="4"/>
                    </a:lnTo>
                    <a:close/>
                    <a:moveTo>
                      <a:pt x="32" y="10"/>
                    </a:moveTo>
                    <a:lnTo>
                      <a:pt x="31" y="10"/>
                    </a:lnTo>
                    <a:lnTo>
                      <a:pt x="28" y="12"/>
                    </a:lnTo>
                    <a:lnTo>
                      <a:pt x="29" y="12"/>
                    </a:lnTo>
                    <a:lnTo>
                      <a:pt x="32" y="10"/>
                    </a:lnTo>
                    <a:close/>
                    <a:moveTo>
                      <a:pt x="63" y="0"/>
                    </a:moveTo>
                    <a:lnTo>
                      <a:pt x="61" y="0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1" y="1"/>
                    </a:lnTo>
                    <a:lnTo>
                      <a:pt x="63" y="0"/>
                    </a:lnTo>
                    <a:close/>
                    <a:moveTo>
                      <a:pt x="13" y="67"/>
                    </a:moveTo>
                    <a:lnTo>
                      <a:pt x="10" y="68"/>
                    </a:lnTo>
                    <a:lnTo>
                      <a:pt x="7" y="68"/>
                    </a:lnTo>
                    <a:lnTo>
                      <a:pt x="4" y="67"/>
                    </a:lnTo>
                    <a:lnTo>
                      <a:pt x="1" y="67"/>
                    </a:lnTo>
                    <a:lnTo>
                      <a:pt x="0" y="67"/>
                    </a:lnTo>
                    <a:lnTo>
                      <a:pt x="0" y="70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3" y="71"/>
                    </a:lnTo>
                    <a:lnTo>
                      <a:pt x="3" y="71"/>
                    </a:lnTo>
                    <a:lnTo>
                      <a:pt x="4" y="70"/>
                    </a:lnTo>
                    <a:lnTo>
                      <a:pt x="6" y="70"/>
                    </a:lnTo>
                    <a:lnTo>
                      <a:pt x="7" y="71"/>
                    </a:lnTo>
                    <a:lnTo>
                      <a:pt x="8" y="71"/>
                    </a:lnTo>
                    <a:lnTo>
                      <a:pt x="8" y="72"/>
                    </a:lnTo>
                    <a:lnTo>
                      <a:pt x="10" y="72"/>
                    </a:lnTo>
                    <a:lnTo>
                      <a:pt x="13" y="71"/>
                    </a:lnTo>
                    <a:lnTo>
                      <a:pt x="15" y="70"/>
                    </a:lnTo>
                    <a:lnTo>
                      <a:pt x="15" y="68"/>
                    </a:lnTo>
                    <a:lnTo>
                      <a:pt x="15" y="67"/>
                    </a:lnTo>
                    <a:lnTo>
                      <a:pt x="14" y="68"/>
                    </a:lnTo>
                    <a:lnTo>
                      <a:pt x="13" y="67"/>
                    </a:lnTo>
                    <a:close/>
                    <a:moveTo>
                      <a:pt x="70" y="11"/>
                    </a:moveTo>
                    <a:lnTo>
                      <a:pt x="67" y="10"/>
                    </a:lnTo>
                    <a:lnTo>
                      <a:pt x="65" y="10"/>
                    </a:lnTo>
                    <a:lnTo>
                      <a:pt x="64" y="8"/>
                    </a:lnTo>
                    <a:lnTo>
                      <a:pt x="63" y="5"/>
                    </a:lnTo>
                    <a:lnTo>
                      <a:pt x="59" y="5"/>
                    </a:lnTo>
                    <a:lnTo>
                      <a:pt x="54" y="7"/>
                    </a:lnTo>
                    <a:lnTo>
                      <a:pt x="49" y="7"/>
                    </a:lnTo>
                    <a:lnTo>
                      <a:pt x="46" y="8"/>
                    </a:lnTo>
                    <a:lnTo>
                      <a:pt x="39" y="11"/>
                    </a:lnTo>
                    <a:lnTo>
                      <a:pt x="38" y="12"/>
                    </a:lnTo>
                    <a:lnTo>
                      <a:pt x="36" y="17"/>
                    </a:lnTo>
                    <a:lnTo>
                      <a:pt x="31" y="21"/>
                    </a:lnTo>
                    <a:lnTo>
                      <a:pt x="28" y="22"/>
                    </a:lnTo>
                    <a:lnTo>
                      <a:pt x="26" y="21"/>
                    </a:lnTo>
                    <a:lnTo>
                      <a:pt x="26" y="21"/>
                    </a:lnTo>
                    <a:lnTo>
                      <a:pt x="25" y="24"/>
                    </a:lnTo>
                    <a:lnTo>
                      <a:pt x="24" y="25"/>
                    </a:lnTo>
                    <a:lnTo>
                      <a:pt x="22" y="36"/>
                    </a:lnTo>
                    <a:lnTo>
                      <a:pt x="21" y="40"/>
                    </a:lnTo>
                    <a:lnTo>
                      <a:pt x="18" y="43"/>
                    </a:lnTo>
                    <a:lnTo>
                      <a:pt x="15" y="47"/>
                    </a:lnTo>
                    <a:lnTo>
                      <a:pt x="14" y="49"/>
                    </a:lnTo>
                    <a:lnTo>
                      <a:pt x="14" y="49"/>
                    </a:lnTo>
                    <a:lnTo>
                      <a:pt x="13" y="51"/>
                    </a:lnTo>
                    <a:lnTo>
                      <a:pt x="11" y="53"/>
                    </a:lnTo>
                    <a:lnTo>
                      <a:pt x="11" y="54"/>
                    </a:lnTo>
                    <a:lnTo>
                      <a:pt x="14" y="58"/>
                    </a:lnTo>
                    <a:lnTo>
                      <a:pt x="15" y="60"/>
                    </a:lnTo>
                    <a:lnTo>
                      <a:pt x="15" y="60"/>
                    </a:lnTo>
                    <a:lnTo>
                      <a:pt x="13" y="61"/>
                    </a:lnTo>
                    <a:lnTo>
                      <a:pt x="14" y="63"/>
                    </a:lnTo>
                    <a:lnTo>
                      <a:pt x="15" y="63"/>
                    </a:lnTo>
                    <a:lnTo>
                      <a:pt x="17" y="64"/>
                    </a:lnTo>
                    <a:lnTo>
                      <a:pt x="17" y="64"/>
                    </a:lnTo>
                    <a:lnTo>
                      <a:pt x="15" y="65"/>
                    </a:lnTo>
                    <a:lnTo>
                      <a:pt x="14" y="65"/>
                    </a:lnTo>
                    <a:lnTo>
                      <a:pt x="10" y="61"/>
                    </a:lnTo>
                    <a:lnTo>
                      <a:pt x="7" y="61"/>
                    </a:lnTo>
                    <a:lnTo>
                      <a:pt x="4" y="61"/>
                    </a:lnTo>
                    <a:lnTo>
                      <a:pt x="3" y="61"/>
                    </a:lnTo>
                    <a:lnTo>
                      <a:pt x="1" y="63"/>
                    </a:lnTo>
                    <a:lnTo>
                      <a:pt x="3" y="64"/>
                    </a:lnTo>
                    <a:lnTo>
                      <a:pt x="4" y="65"/>
                    </a:lnTo>
                    <a:lnTo>
                      <a:pt x="7" y="65"/>
                    </a:lnTo>
                    <a:lnTo>
                      <a:pt x="8" y="67"/>
                    </a:lnTo>
                    <a:lnTo>
                      <a:pt x="13" y="65"/>
                    </a:lnTo>
                    <a:lnTo>
                      <a:pt x="14" y="67"/>
                    </a:lnTo>
                    <a:lnTo>
                      <a:pt x="15" y="67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0" y="68"/>
                    </a:lnTo>
                    <a:lnTo>
                      <a:pt x="20" y="65"/>
                    </a:lnTo>
                    <a:lnTo>
                      <a:pt x="20" y="65"/>
                    </a:lnTo>
                    <a:lnTo>
                      <a:pt x="21" y="64"/>
                    </a:lnTo>
                    <a:lnTo>
                      <a:pt x="21" y="65"/>
                    </a:lnTo>
                    <a:lnTo>
                      <a:pt x="22" y="65"/>
                    </a:lnTo>
                    <a:lnTo>
                      <a:pt x="24" y="65"/>
                    </a:lnTo>
                    <a:lnTo>
                      <a:pt x="25" y="64"/>
                    </a:lnTo>
                    <a:lnTo>
                      <a:pt x="26" y="64"/>
                    </a:lnTo>
                    <a:lnTo>
                      <a:pt x="26" y="65"/>
                    </a:lnTo>
                    <a:lnTo>
                      <a:pt x="26" y="65"/>
                    </a:lnTo>
                    <a:lnTo>
                      <a:pt x="26" y="67"/>
                    </a:lnTo>
                    <a:lnTo>
                      <a:pt x="28" y="67"/>
                    </a:lnTo>
                    <a:lnTo>
                      <a:pt x="29" y="67"/>
                    </a:lnTo>
                    <a:lnTo>
                      <a:pt x="29" y="65"/>
                    </a:lnTo>
                    <a:lnTo>
                      <a:pt x="31" y="64"/>
                    </a:lnTo>
                    <a:lnTo>
                      <a:pt x="31" y="65"/>
                    </a:lnTo>
                    <a:lnTo>
                      <a:pt x="32" y="67"/>
                    </a:lnTo>
                    <a:lnTo>
                      <a:pt x="32" y="68"/>
                    </a:lnTo>
                    <a:lnTo>
                      <a:pt x="33" y="70"/>
                    </a:lnTo>
                    <a:lnTo>
                      <a:pt x="36" y="71"/>
                    </a:lnTo>
                    <a:lnTo>
                      <a:pt x="38" y="70"/>
                    </a:lnTo>
                    <a:lnTo>
                      <a:pt x="39" y="70"/>
                    </a:lnTo>
                    <a:lnTo>
                      <a:pt x="39" y="70"/>
                    </a:lnTo>
                    <a:lnTo>
                      <a:pt x="40" y="71"/>
                    </a:lnTo>
                    <a:lnTo>
                      <a:pt x="42" y="72"/>
                    </a:lnTo>
                    <a:lnTo>
                      <a:pt x="43" y="74"/>
                    </a:lnTo>
                    <a:lnTo>
                      <a:pt x="45" y="74"/>
                    </a:lnTo>
                    <a:lnTo>
                      <a:pt x="45" y="75"/>
                    </a:lnTo>
                    <a:lnTo>
                      <a:pt x="45" y="75"/>
                    </a:lnTo>
                    <a:lnTo>
                      <a:pt x="43" y="78"/>
                    </a:lnTo>
                    <a:lnTo>
                      <a:pt x="43" y="79"/>
                    </a:lnTo>
                    <a:lnTo>
                      <a:pt x="43" y="79"/>
                    </a:lnTo>
                    <a:lnTo>
                      <a:pt x="43" y="81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4"/>
                    </a:lnTo>
                    <a:lnTo>
                      <a:pt x="43" y="85"/>
                    </a:lnTo>
                    <a:lnTo>
                      <a:pt x="43" y="85"/>
                    </a:lnTo>
                    <a:lnTo>
                      <a:pt x="45" y="84"/>
                    </a:lnTo>
                    <a:lnTo>
                      <a:pt x="46" y="85"/>
                    </a:lnTo>
                    <a:lnTo>
                      <a:pt x="49" y="85"/>
                    </a:lnTo>
                    <a:lnTo>
                      <a:pt x="49" y="81"/>
                    </a:lnTo>
                    <a:lnTo>
                      <a:pt x="49" y="79"/>
                    </a:lnTo>
                    <a:lnTo>
                      <a:pt x="47" y="79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7"/>
                    </a:lnTo>
                    <a:lnTo>
                      <a:pt x="47" y="77"/>
                    </a:lnTo>
                    <a:lnTo>
                      <a:pt x="47" y="77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0" y="72"/>
                    </a:lnTo>
                    <a:lnTo>
                      <a:pt x="50" y="72"/>
                    </a:lnTo>
                    <a:lnTo>
                      <a:pt x="50" y="72"/>
                    </a:lnTo>
                    <a:lnTo>
                      <a:pt x="52" y="68"/>
                    </a:lnTo>
                    <a:lnTo>
                      <a:pt x="52" y="67"/>
                    </a:lnTo>
                    <a:lnTo>
                      <a:pt x="52" y="65"/>
                    </a:lnTo>
                    <a:lnTo>
                      <a:pt x="52" y="64"/>
                    </a:lnTo>
                    <a:lnTo>
                      <a:pt x="50" y="63"/>
                    </a:lnTo>
                    <a:lnTo>
                      <a:pt x="50" y="61"/>
                    </a:lnTo>
                    <a:lnTo>
                      <a:pt x="50" y="60"/>
                    </a:lnTo>
                    <a:lnTo>
                      <a:pt x="49" y="58"/>
                    </a:lnTo>
                    <a:lnTo>
                      <a:pt x="47" y="56"/>
                    </a:lnTo>
                    <a:lnTo>
                      <a:pt x="47" y="54"/>
                    </a:lnTo>
                    <a:lnTo>
                      <a:pt x="49" y="54"/>
                    </a:lnTo>
                    <a:lnTo>
                      <a:pt x="50" y="53"/>
                    </a:lnTo>
                    <a:lnTo>
                      <a:pt x="50" y="53"/>
                    </a:lnTo>
                    <a:lnTo>
                      <a:pt x="52" y="53"/>
                    </a:lnTo>
                    <a:lnTo>
                      <a:pt x="53" y="53"/>
                    </a:lnTo>
                    <a:lnTo>
                      <a:pt x="54" y="54"/>
                    </a:lnTo>
                    <a:lnTo>
                      <a:pt x="54" y="54"/>
                    </a:lnTo>
                    <a:lnTo>
                      <a:pt x="56" y="53"/>
                    </a:lnTo>
                    <a:lnTo>
                      <a:pt x="57" y="53"/>
                    </a:lnTo>
                    <a:lnTo>
                      <a:pt x="61" y="51"/>
                    </a:lnTo>
                    <a:lnTo>
                      <a:pt x="63" y="51"/>
                    </a:lnTo>
                    <a:lnTo>
                      <a:pt x="63" y="50"/>
                    </a:lnTo>
                    <a:lnTo>
                      <a:pt x="63" y="50"/>
                    </a:lnTo>
                    <a:lnTo>
                      <a:pt x="61" y="49"/>
                    </a:lnTo>
                    <a:lnTo>
                      <a:pt x="61" y="47"/>
                    </a:lnTo>
                    <a:lnTo>
                      <a:pt x="61" y="47"/>
                    </a:lnTo>
                    <a:lnTo>
                      <a:pt x="61" y="46"/>
                    </a:lnTo>
                    <a:lnTo>
                      <a:pt x="63" y="46"/>
                    </a:lnTo>
                    <a:lnTo>
                      <a:pt x="64" y="45"/>
                    </a:lnTo>
                    <a:lnTo>
                      <a:pt x="65" y="43"/>
                    </a:lnTo>
                    <a:lnTo>
                      <a:pt x="67" y="42"/>
                    </a:lnTo>
                    <a:lnTo>
                      <a:pt x="67" y="39"/>
                    </a:lnTo>
                    <a:lnTo>
                      <a:pt x="67" y="38"/>
                    </a:lnTo>
                    <a:lnTo>
                      <a:pt x="67" y="36"/>
                    </a:lnTo>
                    <a:lnTo>
                      <a:pt x="65" y="36"/>
                    </a:lnTo>
                    <a:lnTo>
                      <a:pt x="65" y="36"/>
                    </a:lnTo>
                    <a:lnTo>
                      <a:pt x="63" y="36"/>
                    </a:lnTo>
                    <a:lnTo>
                      <a:pt x="61" y="35"/>
                    </a:lnTo>
                    <a:lnTo>
                      <a:pt x="61" y="35"/>
                    </a:lnTo>
                    <a:lnTo>
                      <a:pt x="61" y="33"/>
                    </a:lnTo>
                    <a:lnTo>
                      <a:pt x="61" y="33"/>
                    </a:lnTo>
                    <a:lnTo>
                      <a:pt x="61" y="32"/>
                    </a:lnTo>
                    <a:lnTo>
                      <a:pt x="61" y="32"/>
                    </a:lnTo>
                    <a:lnTo>
                      <a:pt x="61" y="31"/>
                    </a:lnTo>
                    <a:lnTo>
                      <a:pt x="61" y="31"/>
                    </a:lnTo>
                    <a:lnTo>
                      <a:pt x="67" y="31"/>
                    </a:lnTo>
                    <a:lnTo>
                      <a:pt x="67" y="29"/>
                    </a:lnTo>
                    <a:lnTo>
                      <a:pt x="67" y="26"/>
                    </a:lnTo>
                    <a:lnTo>
                      <a:pt x="68" y="22"/>
                    </a:lnTo>
                    <a:lnTo>
                      <a:pt x="70" y="21"/>
                    </a:lnTo>
                    <a:lnTo>
                      <a:pt x="70" y="19"/>
                    </a:lnTo>
                    <a:lnTo>
                      <a:pt x="70" y="14"/>
                    </a:lnTo>
                    <a:lnTo>
                      <a:pt x="70" y="11"/>
                    </a:lnTo>
                    <a:close/>
                    <a:moveTo>
                      <a:pt x="7" y="58"/>
                    </a:moveTo>
                    <a:lnTo>
                      <a:pt x="8" y="58"/>
                    </a:lnTo>
                    <a:lnTo>
                      <a:pt x="11" y="60"/>
                    </a:lnTo>
                    <a:lnTo>
                      <a:pt x="14" y="60"/>
                    </a:lnTo>
                    <a:lnTo>
                      <a:pt x="13" y="58"/>
                    </a:lnTo>
                    <a:lnTo>
                      <a:pt x="13" y="58"/>
                    </a:lnTo>
                    <a:lnTo>
                      <a:pt x="11" y="57"/>
                    </a:lnTo>
                    <a:lnTo>
                      <a:pt x="8" y="57"/>
                    </a:lnTo>
                    <a:lnTo>
                      <a:pt x="7" y="57"/>
                    </a:lnTo>
                    <a:lnTo>
                      <a:pt x="7" y="57"/>
                    </a:lnTo>
                    <a:lnTo>
                      <a:pt x="7" y="58"/>
                    </a:lnTo>
                    <a:close/>
                    <a:moveTo>
                      <a:pt x="26" y="19"/>
                    </a:moveTo>
                    <a:lnTo>
                      <a:pt x="28" y="17"/>
                    </a:lnTo>
                    <a:lnTo>
                      <a:pt x="28" y="14"/>
                    </a:lnTo>
                    <a:lnTo>
                      <a:pt x="25" y="17"/>
                    </a:lnTo>
                    <a:lnTo>
                      <a:pt x="25" y="18"/>
                    </a:lnTo>
                    <a:lnTo>
                      <a:pt x="25" y="18"/>
                    </a:lnTo>
                    <a:lnTo>
                      <a:pt x="26" y="19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16" name="Norway">
                <a:extLst>
                  <a:ext uri="{FF2B5EF4-FFF2-40B4-BE49-F238E27FC236}">
                    <a16:creationId xmlns:a16="http://schemas.microsoft.com/office/drawing/2014/main" id="{9B91C5B1-2831-7882-7691-D881A95C8E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4115" y="2070836"/>
                <a:ext cx="372277" cy="443448"/>
              </a:xfrm>
              <a:custGeom>
                <a:avLst/>
                <a:gdLst>
                  <a:gd name="T0" fmla="*/ 469 w 476"/>
                  <a:gd name="T1" fmla="*/ 87 h 567"/>
                  <a:gd name="T2" fmla="*/ 443 w 476"/>
                  <a:gd name="T3" fmla="*/ 96 h 567"/>
                  <a:gd name="T4" fmla="*/ 385 w 476"/>
                  <a:gd name="T5" fmla="*/ 80 h 567"/>
                  <a:gd name="T6" fmla="*/ 345 w 476"/>
                  <a:gd name="T7" fmla="*/ 126 h 567"/>
                  <a:gd name="T8" fmla="*/ 296 w 476"/>
                  <a:gd name="T9" fmla="*/ 111 h 567"/>
                  <a:gd name="T10" fmla="*/ 254 w 476"/>
                  <a:gd name="T11" fmla="*/ 139 h 567"/>
                  <a:gd name="T12" fmla="*/ 212 w 476"/>
                  <a:gd name="T13" fmla="*/ 204 h 567"/>
                  <a:gd name="T14" fmla="*/ 166 w 476"/>
                  <a:gd name="T15" fmla="*/ 309 h 567"/>
                  <a:gd name="T16" fmla="*/ 134 w 476"/>
                  <a:gd name="T17" fmla="*/ 380 h 567"/>
                  <a:gd name="T18" fmla="*/ 144 w 476"/>
                  <a:gd name="T19" fmla="*/ 457 h 567"/>
                  <a:gd name="T20" fmla="*/ 126 w 476"/>
                  <a:gd name="T21" fmla="*/ 512 h 567"/>
                  <a:gd name="T22" fmla="*/ 106 w 476"/>
                  <a:gd name="T23" fmla="*/ 505 h 567"/>
                  <a:gd name="T24" fmla="*/ 87 w 476"/>
                  <a:gd name="T25" fmla="*/ 536 h 567"/>
                  <a:gd name="T26" fmla="*/ 37 w 476"/>
                  <a:gd name="T27" fmla="*/ 564 h 567"/>
                  <a:gd name="T28" fmla="*/ 24 w 476"/>
                  <a:gd name="T29" fmla="*/ 538 h 567"/>
                  <a:gd name="T30" fmla="*/ 16 w 476"/>
                  <a:gd name="T31" fmla="*/ 522 h 567"/>
                  <a:gd name="T32" fmla="*/ 17 w 476"/>
                  <a:gd name="T33" fmla="*/ 503 h 567"/>
                  <a:gd name="T34" fmla="*/ 20 w 476"/>
                  <a:gd name="T35" fmla="*/ 492 h 567"/>
                  <a:gd name="T36" fmla="*/ 16 w 476"/>
                  <a:gd name="T37" fmla="*/ 492 h 567"/>
                  <a:gd name="T38" fmla="*/ 27 w 476"/>
                  <a:gd name="T39" fmla="*/ 458 h 567"/>
                  <a:gd name="T40" fmla="*/ 39 w 476"/>
                  <a:gd name="T41" fmla="*/ 455 h 567"/>
                  <a:gd name="T42" fmla="*/ 6 w 476"/>
                  <a:gd name="T43" fmla="*/ 437 h 567"/>
                  <a:gd name="T44" fmla="*/ 9 w 476"/>
                  <a:gd name="T45" fmla="*/ 416 h 567"/>
                  <a:gd name="T46" fmla="*/ 28 w 476"/>
                  <a:gd name="T47" fmla="*/ 398 h 567"/>
                  <a:gd name="T48" fmla="*/ 37 w 476"/>
                  <a:gd name="T49" fmla="*/ 391 h 567"/>
                  <a:gd name="T50" fmla="*/ 69 w 476"/>
                  <a:gd name="T51" fmla="*/ 366 h 567"/>
                  <a:gd name="T52" fmla="*/ 97 w 476"/>
                  <a:gd name="T53" fmla="*/ 366 h 567"/>
                  <a:gd name="T54" fmla="*/ 117 w 476"/>
                  <a:gd name="T55" fmla="*/ 341 h 567"/>
                  <a:gd name="T56" fmla="*/ 111 w 476"/>
                  <a:gd name="T57" fmla="*/ 322 h 567"/>
                  <a:gd name="T58" fmla="*/ 138 w 476"/>
                  <a:gd name="T59" fmla="*/ 292 h 567"/>
                  <a:gd name="T60" fmla="*/ 168 w 476"/>
                  <a:gd name="T61" fmla="*/ 243 h 567"/>
                  <a:gd name="T62" fmla="*/ 165 w 476"/>
                  <a:gd name="T63" fmla="*/ 213 h 567"/>
                  <a:gd name="T64" fmla="*/ 193 w 476"/>
                  <a:gd name="T65" fmla="*/ 189 h 567"/>
                  <a:gd name="T66" fmla="*/ 193 w 476"/>
                  <a:gd name="T67" fmla="*/ 168 h 567"/>
                  <a:gd name="T68" fmla="*/ 207 w 476"/>
                  <a:gd name="T69" fmla="*/ 150 h 567"/>
                  <a:gd name="T70" fmla="*/ 229 w 476"/>
                  <a:gd name="T71" fmla="*/ 125 h 567"/>
                  <a:gd name="T72" fmla="*/ 258 w 476"/>
                  <a:gd name="T73" fmla="*/ 86 h 567"/>
                  <a:gd name="T74" fmla="*/ 278 w 476"/>
                  <a:gd name="T75" fmla="*/ 96 h 567"/>
                  <a:gd name="T76" fmla="*/ 311 w 476"/>
                  <a:gd name="T77" fmla="*/ 62 h 567"/>
                  <a:gd name="T78" fmla="*/ 338 w 476"/>
                  <a:gd name="T79" fmla="*/ 61 h 567"/>
                  <a:gd name="T80" fmla="*/ 374 w 476"/>
                  <a:gd name="T81" fmla="*/ 14 h 567"/>
                  <a:gd name="T82" fmla="*/ 399 w 476"/>
                  <a:gd name="T83" fmla="*/ 16 h 567"/>
                  <a:gd name="T84" fmla="*/ 424 w 476"/>
                  <a:gd name="T85" fmla="*/ 5 h 567"/>
                  <a:gd name="T86" fmla="*/ 442 w 476"/>
                  <a:gd name="T87" fmla="*/ 16 h 567"/>
                  <a:gd name="T88" fmla="*/ 436 w 476"/>
                  <a:gd name="T89" fmla="*/ 58 h 567"/>
                  <a:gd name="T90" fmla="*/ 338 w 476"/>
                  <a:gd name="T91" fmla="*/ 22 h 567"/>
                  <a:gd name="T92" fmla="*/ 336 w 476"/>
                  <a:gd name="T93" fmla="*/ 19 h 567"/>
                  <a:gd name="T94" fmla="*/ 333 w 476"/>
                  <a:gd name="T95" fmla="*/ 47 h 567"/>
                  <a:gd name="T96" fmla="*/ 275 w 476"/>
                  <a:gd name="T97" fmla="*/ 60 h 567"/>
                  <a:gd name="T98" fmla="*/ 254 w 476"/>
                  <a:gd name="T99" fmla="*/ 83 h 567"/>
                  <a:gd name="T100" fmla="*/ 258 w 476"/>
                  <a:gd name="T101" fmla="*/ 61 h 567"/>
                  <a:gd name="T102" fmla="*/ 457 w 476"/>
                  <a:gd name="T103" fmla="*/ 73 h 567"/>
                  <a:gd name="T104" fmla="*/ 236 w 476"/>
                  <a:gd name="T105" fmla="*/ 106 h 567"/>
                  <a:gd name="T106" fmla="*/ 229 w 476"/>
                  <a:gd name="T107" fmla="*/ 87 h 567"/>
                  <a:gd name="T108" fmla="*/ 205 w 476"/>
                  <a:gd name="T109" fmla="*/ 142 h 567"/>
                  <a:gd name="T110" fmla="*/ 193 w 476"/>
                  <a:gd name="T111" fmla="*/ 133 h 567"/>
                  <a:gd name="T112" fmla="*/ 190 w 476"/>
                  <a:gd name="T113" fmla="*/ 117 h 567"/>
                  <a:gd name="T114" fmla="*/ 186 w 476"/>
                  <a:gd name="T115" fmla="*/ 119 h 567"/>
                  <a:gd name="T116" fmla="*/ 154 w 476"/>
                  <a:gd name="T117" fmla="*/ 164 h 567"/>
                  <a:gd name="T118" fmla="*/ 137 w 476"/>
                  <a:gd name="T119" fmla="*/ 253 h 567"/>
                  <a:gd name="T120" fmla="*/ 127 w 476"/>
                  <a:gd name="T121" fmla="*/ 273 h 567"/>
                  <a:gd name="T122" fmla="*/ 73 w 476"/>
                  <a:gd name="T123" fmla="*/ 351 h 567"/>
                  <a:gd name="T124" fmla="*/ 3 w 476"/>
                  <a:gd name="T125" fmla="*/ 458 h 5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76" h="567">
                    <a:moveTo>
                      <a:pt x="378" y="0"/>
                    </a:moveTo>
                    <a:lnTo>
                      <a:pt x="382" y="2"/>
                    </a:lnTo>
                    <a:lnTo>
                      <a:pt x="385" y="2"/>
                    </a:lnTo>
                    <a:lnTo>
                      <a:pt x="386" y="7"/>
                    </a:lnTo>
                    <a:lnTo>
                      <a:pt x="388" y="7"/>
                    </a:lnTo>
                    <a:lnTo>
                      <a:pt x="388" y="8"/>
                    </a:lnTo>
                    <a:lnTo>
                      <a:pt x="385" y="9"/>
                    </a:lnTo>
                    <a:lnTo>
                      <a:pt x="382" y="11"/>
                    </a:lnTo>
                    <a:lnTo>
                      <a:pt x="381" y="11"/>
                    </a:lnTo>
                    <a:lnTo>
                      <a:pt x="378" y="11"/>
                    </a:lnTo>
                    <a:lnTo>
                      <a:pt x="377" y="7"/>
                    </a:lnTo>
                    <a:lnTo>
                      <a:pt x="372" y="7"/>
                    </a:lnTo>
                    <a:lnTo>
                      <a:pt x="372" y="5"/>
                    </a:lnTo>
                    <a:lnTo>
                      <a:pt x="375" y="2"/>
                    </a:lnTo>
                    <a:lnTo>
                      <a:pt x="378" y="0"/>
                    </a:lnTo>
                    <a:close/>
                    <a:moveTo>
                      <a:pt x="474" y="73"/>
                    </a:moveTo>
                    <a:lnTo>
                      <a:pt x="474" y="80"/>
                    </a:lnTo>
                    <a:lnTo>
                      <a:pt x="474" y="83"/>
                    </a:lnTo>
                    <a:lnTo>
                      <a:pt x="474" y="86"/>
                    </a:lnTo>
                    <a:lnTo>
                      <a:pt x="474" y="87"/>
                    </a:lnTo>
                    <a:lnTo>
                      <a:pt x="473" y="87"/>
                    </a:lnTo>
                    <a:lnTo>
                      <a:pt x="469" y="87"/>
                    </a:lnTo>
                    <a:lnTo>
                      <a:pt x="464" y="85"/>
                    </a:lnTo>
                    <a:lnTo>
                      <a:pt x="462" y="82"/>
                    </a:lnTo>
                    <a:lnTo>
                      <a:pt x="462" y="82"/>
                    </a:lnTo>
                    <a:lnTo>
                      <a:pt x="462" y="82"/>
                    </a:lnTo>
                    <a:lnTo>
                      <a:pt x="462" y="85"/>
                    </a:lnTo>
                    <a:lnTo>
                      <a:pt x="462" y="86"/>
                    </a:lnTo>
                    <a:lnTo>
                      <a:pt x="462" y="89"/>
                    </a:lnTo>
                    <a:lnTo>
                      <a:pt x="460" y="90"/>
                    </a:lnTo>
                    <a:lnTo>
                      <a:pt x="460" y="92"/>
                    </a:lnTo>
                    <a:lnTo>
                      <a:pt x="457" y="94"/>
                    </a:lnTo>
                    <a:lnTo>
                      <a:pt x="455" y="96"/>
                    </a:lnTo>
                    <a:lnTo>
                      <a:pt x="446" y="99"/>
                    </a:lnTo>
                    <a:lnTo>
                      <a:pt x="446" y="100"/>
                    </a:lnTo>
                    <a:lnTo>
                      <a:pt x="443" y="110"/>
                    </a:lnTo>
                    <a:lnTo>
                      <a:pt x="443" y="111"/>
                    </a:lnTo>
                    <a:lnTo>
                      <a:pt x="442" y="112"/>
                    </a:lnTo>
                    <a:lnTo>
                      <a:pt x="439" y="114"/>
                    </a:lnTo>
                    <a:lnTo>
                      <a:pt x="438" y="111"/>
                    </a:lnTo>
                    <a:lnTo>
                      <a:pt x="436" y="108"/>
                    </a:lnTo>
                    <a:lnTo>
                      <a:pt x="436" y="106"/>
                    </a:lnTo>
                    <a:lnTo>
                      <a:pt x="441" y="100"/>
                    </a:lnTo>
                    <a:lnTo>
                      <a:pt x="443" y="96"/>
                    </a:lnTo>
                    <a:lnTo>
                      <a:pt x="445" y="94"/>
                    </a:lnTo>
                    <a:lnTo>
                      <a:pt x="446" y="90"/>
                    </a:lnTo>
                    <a:lnTo>
                      <a:pt x="442" y="80"/>
                    </a:lnTo>
                    <a:lnTo>
                      <a:pt x="436" y="76"/>
                    </a:lnTo>
                    <a:lnTo>
                      <a:pt x="430" y="72"/>
                    </a:lnTo>
                    <a:lnTo>
                      <a:pt x="427" y="69"/>
                    </a:lnTo>
                    <a:lnTo>
                      <a:pt x="423" y="64"/>
                    </a:lnTo>
                    <a:lnTo>
                      <a:pt x="420" y="60"/>
                    </a:lnTo>
                    <a:lnTo>
                      <a:pt x="417" y="60"/>
                    </a:lnTo>
                    <a:lnTo>
                      <a:pt x="414" y="61"/>
                    </a:lnTo>
                    <a:lnTo>
                      <a:pt x="410" y="65"/>
                    </a:lnTo>
                    <a:lnTo>
                      <a:pt x="407" y="67"/>
                    </a:lnTo>
                    <a:lnTo>
                      <a:pt x="406" y="68"/>
                    </a:lnTo>
                    <a:lnTo>
                      <a:pt x="406" y="68"/>
                    </a:lnTo>
                    <a:lnTo>
                      <a:pt x="402" y="67"/>
                    </a:lnTo>
                    <a:lnTo>
                      <a:pt x="399" y="67"/>
                    </a:lnTo>
                    <a:lnTo>
                      <a:pt x="396" y="67"/>
                    </a:lnTo>
                    <a:lnTo>
                      <a:pt x="395" y="67"/>
                    </a:lnTo>
                    <a:lnTo>
                      <a:pt x="391" y="73"/>
                    </a:lnTo>
                    <a:lnTo>
                      <a:pt x="388" y="78"/>
                    </a:lnTo>
                    <a:lnTo>
                      <a:pt x="386" y="79"/>
                    </a:lnTo>
                    <a:lnTo>
                      <a:pt x="385" y="80"/>
                    </a:lnTo>
                    <a:lnTo>
                      <a:pt x="385" y="85"/>
                    </a:lnTo>
                    <a:lnTo>
                      <a:pt x="382" y="96"/>
                    </a:lnTo>
                    <a:lnTo>
                      <a:pt x="381" y="100"/>
                    </a:lnTo>
                    <a:lnTo>
                      <a:pt x="381" y="103"/>
                    </a:lnTo>
                    <a:lnTo>
                      <a:pt x="381" y="111"/>
                    </a:lnTo>
                    <a:lnTo>
                      <a:pt x="381" y="115"/>
                    </a:lnTo>
                    <a:lnTo>
                      <a:pt x="379" y="118"/>
                    </a:lnTo>
                    <a:lnTo>
                      <a:pt x="378" y="119"/>
                    </a:lnTo>
                    <a:lnTo>
                      <a:pt x="377" y="121"/>
                    </a:lnTo>
                    <a:lnTo>
                      <a:pt x="374" y="121"/>
                    </a:lnTo>
                    <a:lnTo>
                      <a:pt x="372" y="124"/>
                    </a:lnTo>
                    <a:lnTo>
                      <a:pt x="371" y="126"/>
                    </a:lnTo>
                    <a:lnTo>
                      <a:pt x="368" y="132"/>
                    </a:lnTo>
                    <a:lnTo>
                      <a:pt x="367" y="135"/>
                    </a:lnTo>
                    <a:lnTo>
                      <a:pt x="364" y="135"/>
                    </a:lnTo>
                    <a:lnTo>
                      <a:pt x="361" y="132"/>
                    </a:lnTo>
                    <a:lnTo>
                      <a:pt x="358" y="131"/>
                    </a:lnTo>
                    <a:lnTo>
                      <a:pt x="356" y="129"/>
                    </a:lnTo>
                    <a:lnTo>
                      <a:pt x="352" y="126"/>
                    </a:lnTo>
                    <a:lnTo>
                      <a:pt x="349" y="125"/>
                    </a:lnTo>
                    <a:lnTo>
                      <a:pt x="346" y="124"/>
                    </a:lnTo>
                    <a:lnTo>
                      <a:pt x="345" y="126"/>
                    </a:lnTo>
                    <a:lnTo>
                      <a:pt x="343" y="129"/>
                    </a:lnTo>
                    <a:lnTo>
                      <a:pt x="339" y="131"/>
                    </a:lnTo>
                    <a:lnTo>
                      <a:pt x="336" y="132"/>
                    </a:lnTo>
                    <a:lnTo>
                      <a:pt x="333" y="132"/>
                    </a:lnTo>
                    <a:lnTo>
                      <a:pt x="332" y="131"/>
                    </a:lnTo>
                    <a:lnTo>
                      <a:pt x="328" y="129"/>
                    </a:lnTo>
                    <a:lnTo>
                      <a:pt x="322" y="128"/>
                    </a:lnTo>
                    <a:lnTo>
                      <a:pt x="321" y="128"/>
                    </a:lnTo>
                    <a:lnTo>
                      <a:pt x="319" y="125"/>
                    </a:lnTo>
                    <a:lnTo>
                      <a:pt x="318" y="122"/>
                    </a:lnTo>
                    <a:lnTo>
                      <a:pt x="314" y="115"/>
                    </a:lnTo>
                    <a:lnTo>
                      <a:pt x="313" y="112"/>
                    </a:lnTo>
                    <a:lnTo>
                      <a:pt x="310" y="107"/>
                    </a:lnTo>
                    <a:lnTo>
                      <a:pt x="306" y="100"/>
                    </a:lnTo>
                    <a:lnTo>
                      <a:pt x="306" y="100"/>
                    </a:lnTo>
                    <a:lnTo>
                      <a:pt x="303" y="100"/>
                    </a:lnTo>
                    <a:lnTo>
                      <a:pt x="300" y="100"/>
                    </a:lnTo>
                    <a:lnTo>
                      <a:pt x="297" y="101"/>
                    </a:lnTo>
                    <a:lnTo>
                      <a:pt x="296" y="104"/>
                    </a:lnTo>
                    <a:lnTo>
                      <a:pt x="296" y="106"/>
                    </a:lnTo>
                    <a:lnTo>
                      <a:pt x="297" y="110"/>
                    </a:lnTo>
                    <a:lnTo>
                      <a:pt x="296" y="111"/>
                    </a:lnTo>
                    <a:lnTo>
                      <a:pt x="296" y="112"/>
                    </a:lnTo>
                    <a:lnTo>
                      <a:pt x="293" y="111"/>
                    </a:lnTo>
                    <a:lnTo>
                      <a:pt x="289" y="111"/>
                    </a:lnTo>
                    <a:lnTo>
                      <a:pt x="287" y="112"/>
                    </a:lnTo>
                    <a:lnTo>
                      <a:pt x="286" y="112"/>
                    </a:lnTo>
                    <a:lnTo>
                      <a:pt x="279" y="114"/>
                    </a:lnTo>
                    <a:lnTo>
                      <a:pt x="282" y="118"/>
                    </a:lnTo>
                    <a:lnTo>
                      <a:pt x="282" y="119"/>
                    </a:lnTo>
                    <a:lnTo>
                      <a:pt x="283" y="122"/>
                    </a:lnTo>
                    <a:lnTo>
                      <a:pt x="282" y="126"/>
                    </a:lnTo>
                    <a:lnTo>
                      <a:pt x="280" y="131"/>
                    </a:lnTo>
                    <a:lnTo>
                      <a:pt x="279" y="135"/>
                    </a:lnTo>
                    <a:lnTo>
                      <a:pt x="276" y="138"/>
                    </a:lnTo>
                    <a:lnTo>
                      <a:pt x="280" y="140"/>
                    </a:lnTo>
                    <a:lnTo>
                      <a:pt x="278" y="145"/>
                    </a:lnTo>
                    <a:lnTo>
                      <a:pt x="276" y="146"/>
                    </a:lnTo>
                    <a:lnTo>
                      <a:pt x="274" y="146"/>
                    </a:lnTo>
                    <a:lnTo>
                      <a:pt x="271" y="145"/>
                    </a:lnTo>
                    <a:lnTo>
                      <a:pt x="262" y="142"/>
                    </a:lnTo>
                    <a:lnTo>
                      <a:pt x="260" y="140"/>
                    </a:lnTo>
                    <a:lnTo>
                      <a:pt x="255" y="139"/>
                    </a:lnTo>
                    <a:lnTo>
                      <a:pt x="254" y="139"/>
                    </a:lnTo>
                    <a:lnTo>
                      <a:pt x="247" y="136"/>
                    </a:lnTo>
                    <a:lnTo>
                      <a:pt x="246" y="136"/>
                    </a:lnTo>
                    <a:lnTo>
                      <a:pt x="243" y="138"/>
                    </a:lnTo>
                    <a:lnTo>
                      <a:pt x="243" y="140"/>
                    </a:lnTo>
                    <a:lnTo>
                      <a:pt x="243" y="149"/>
                    </a:lnTo>
                    <a:lnTo>
                      <a:pt x="243" y="154"/>
                    </a:lnTo>
                    <a:lnTo>
                      <a:pt x="243" y="157"/>
                    </a:lnTo>
                    <a:lnTo>
                      <a:pt x="241" y="160"/>
                    </a:lnTo>
                    <a:lnTo>
                      <a:pt x="239" y="165"/>
                    </a:lnTo>
                    <a:lnTo>
                      <a:pt x="232" y="161"/>
                    </a:lnTo>
                    <a:lnTo>
                      <a:pt x="228" y="158"/>
                    </a:lnTo>
                    <a:lnTo>
                      <a:pt x="225" y="163"/>
                    </a:lnTo>
                    <a:lnTo>
                      <a:pt x="218" y="170"/>
                    </a:lnTo>
                    <a:lnTo>
                      <a:pt x="215" y="182"/>
                    </a:lnTo>
                    <a:lnTo>
                      <a:pt x="214" y="182"/>
                    </a:lnTo>
                    <a:lnTo>
                      <a:pt x="212" y="185"/>
                    </a:lnTo>
                    <a:lnTo>
                      <a:pt x="209" y="186"/>
                    </a:lnTo>
                    <a:lnTo>
                      <a:pt x="207" y="188"/>
                    </a:lnTo>
                    <a:lnTo>
                      <a:pt x="207" y="192"/>
                    </a:lnTo>
                    <a:lnTo>
                      <a:pt x="209" y="196"/>
                    </a:lnTo>
                    <a:lnTo>
                      <a:pt x="211" y="200"/>
                    </a:lnTo>
                    <a:lnTo>
                      <a:pt x="212" y="204"/>
                    </a:lnTo>
                    <a:lnTo>
                      <a:pt x="211" y="207"/>
                    </a:lnTo>
                    <a:lnTo>
                      <a:pt x="211" y="209"/>
                    </a:lnTo>
                    <a:lnTo>
                      <a:pt x="208" y="213"/>
                    </a:lnTo>
                    <a:lnTo>
                      <a:pt x="201" y="223"/>
                    </a:lnTo>
                    <a:lnTo>
                      <a:pt x="196" y="232"/>
                    </a:lnTo>
                    <a:lnTo>
                      <a:pt x="193" y="235"/>
                    </a:lnTo>
                    <a:lnTo>
                      <a:pt x="194" y="243"/>
                    </a:lnTo>
                    <a:lnTo>
                      <a:pt x="193" y="246"/>
                    </a:lnTo>
                    <a:lnTo>
                      <a:pt x="189" y="248"/>
                    </a:lnTo>
                    <a:lnTo>
                      <a:pt x="186" y="249"/>
                    </a:lnTo>
                    <a:lnTo>
                      <a:pt x="184" y="250"/>
                    </a:lnTo>
                    <a:lnTo>
                      <a:pt x="177" y="250"/>
                    </a:lnTo>
                    <a:lnTo>
                      <a:pt x="179" y="260"/>
                    </a:lnTo>
                    <a:lnTo>
                      <a:pt x="179" y="264"/>
                    </a:lnTo>
                    <a:lnTo>
                      <a:pt x="179" y="266"/>
                    </a:lnTo>
                    <a:lnTo>
                      <a:pt x="179" y="269"/>
                    </a:lnTo>
                    <a:lnTo>
                      <a:pt x="177" y="273"/>
                    </a:lnTo>
                    <a:lnTo>
                      <a:pt x="176" y="288"/>
                    </a:lnTo>
                    <a:lnTo>
                      <a:pt x="175" y="289"/>
                    </a:lnTo>
                    <a:lnTo>
                      <a:pt x="173" y="294"/>
                    </a:lnTo>
                    <a:lnTo>
                      <a:pt x="169" y="303"/>
                    </a:lnTo>
                    <a:lnTo>
                      <a:pt x="166" y="309"/>
                    </a:lnTo>
                    <a:lnTo>
                      <a:pt x="161" y="319"/>
                    </a:lnTo>
                    <a:lnTo>
                      <a:pt x="165" y="322"/>
                    </a:lnTo>
                    <a:lnTo>
                      <a:pt x="169" y="323"/>
                    </a:lnTo>
                    <a:lnTo>
                      <a:pt x="169" y="327"/>
                    </a:lnTo>
                    <a:lnTo>
                      <a:pt x="170" y="333"/>
                    </a:lnTo>
                    <a:lnTo>
                      <a:pt x="170" y="335"/>
                    </a:lnTo>
                    <a:lnTo>
                      <a:pt x="169" y="338"/>
                    </a:lnTo>
                    <a:lnTo>
                      <a:pt x="168" y="341"/>
                    </a:lnTo>
                    <a:lnTo>
                      <a:pt x="166" y="342"/>
                    </a:lnTo>
                    <a:lnTo>
                      <a:pt x="162" y="341"/>
                    </a:lnTo>
                    <a:lnTo>
                      <a:pt x="155" y="340"/>
                    </a:lnTo>
                    <a:lnTo>
                      <a:pt x="152" y="340"/>
                    </a:lnTo>
                    <a:lnTo>
                      <a:pt x="150" y="341"/>
                    </a:lnTo>
                    <a:lnTo>
                      <a:pt x="145" y="342"/>
                    </a:lnTo>
                    <a:lnTo>
                      <a:pt x="144" y="345"/>
                    </a:lnTo>
                    <a:lnTo>
                      <a:pt x="143" y="345"/>
                    </a:lnTo>
                    <a:lnTo>
                      <a:pt x="141" y="349"/>
                    </a:lnTo>
                    <a:lnTo>
                      <a:pt x="137" y="356"/>
                    </a:lnTo>
                    <a:lnTo>
                      <a:pt x="134" y="359"/>
                    </a:lnTo>
                    <a:lnTo>
                      <a:pt x="136" y="363"/>
                    </a:lnTo>
                    <a:lnTo>
                      <a:pt x="131" y="372"/>
                    </a:lnTo>
                    <a:lnTo>
                      <a:pt x="134" y="380"/>
                    </a:lnTo>
                    <a:lnTo>
                      <a:pt x="134" y="380"/>
                    </a:lnTo>
                    <a:lnTo>
                      <a:pt x="136" y="383"/>
                    </a:lnTo>
                    <a:lnTo>
                      <a:pt x="134" y="386"/>
                    </a:lnTo>
                    <a:lnTo>
                      <a:pt x="133" y="387"/>
                    </a:lnTo>
                    <a:lnTo>
                      <a:pt x="133" y="390"/>
                    </a:lnTo>
                    <a:lnTo>
                      <a:pt x="134" y="394"/>
                    </a:lnTo>
                    <a:lnTo>
                      <a:pt x="133" y="397"/>
                    </a:lnTo>
                    <a:lnTo>
                      <a:pt x="133" y="400"/>
                    </a:lnTo>
                    <a:lnTo>
                      <a:pt x="137" y="412"/>
                    </a:lnTo>
                    <a:lnTo>
                      <a:pt x="137" y="415"/>
                    </a:lnTo>
                    <a:lnTo>
                      <a:pt x="137" y="416"/>
                    </a:lnTo>
                    <a:lnTo>
                      <a:pt x="136" y="423"/>
                    </a:lnTo>
                    <a:lnTo>
                      <a:pt x="134" y="433"/>
                    </a:lnTo>
                    <a:lnTo>
                      <a:pt x="137" y="436"/>
                    </a:lnTo>
                    <a:lnTo>
                      <a:pt x="140" y="439"/>
                    </a:lnTo>
                    <a:lnTo>
                      <a:pt x="143" y="440"/>
                    </a:lnTo>
                    <a:lnTo>
                      <a:pt x="145" y="444"/>
                    </a:lnTo>
                    <a:lnTo>
                      <a:pt x="147" y="447"/>
                    </a:lnTo>
                    <a:lnTo>
                      <a:pt x="147" y="450"/>
                    </a:lnTo>
                    <a:lnTo>
                      <a:pt x="147" y="453"/>
                    </a:lnTo>
                    <a:lnTo>
                      <a:pt x="145" y="454"/>
                    </a:lnTo>
                    <a:lnTo>
                      <a:pt x="144" y="457"/>
                    </a:lnTo>
                    <a:lnTo>
                      <a:pt x="144" y="458"/>
                    </a:lnTo>
                    <a:lnTo>
                      <a:pt x="144" y="459"/>
                    </a:lnTo>
                    <a:lnTo>
                      <a:pt x="140" y="459"/>
                    </a:lnTo>
                    <a:lnTo>
                      <a:pt x="137" y="459"/>
                    </a:lnTo>
                    <a:lnTo>
                      <a:pt x="137" y="461"/>
                    </a:lnTo>
                    <a:lnTo>
                      <a:pt x="137" y="465"/>
                    </a:lnTo>
                    <a:lnTo>
                      <a:pt x="140" y="472"/>
                    </a:lnTo>
                    <a:lnTo>
                      <a:pt x="141" y="478"/>
                    </a:lnTo>
                    <a:lnTo>
                      <a:pt x="143" y="482"/>
                    </a:lnTo>
                    <a:lnTo>
                      <a:pt x="141" y="485"/>
                    </a:lnTo>
                    <a:lnTo>
                      <a:pt x="141" y="486"/>
                    </a:lnTo>
                    <a:lnTo>
                      <a:pt x="141" y="489"/>
                    </a:lnTo>
                    <a:lnTo>
                      <a:pt x="140" y="494"/>
                    </a:lnTo>
                    <a:lnTo>
                      <a:pt x="138" y="496"/>
                    </a:lnTo>
                    <a:lnTo>
                      <a:pt x="137" y="498"/>
                    </a:lnTo>
                    <a:lnTo>
                      <a:pt x="134" y="501"/>
                    </a:lnTo>
                    <a:lnTo>
                      <a:pt x="133" y="501"/>
                    </a:lnTo>
                    <a:lnTo>
                      <a:pt x="131" y="501"/>
                    </a:lnTo>
                    <a:lnTo>
                      <a:pt x="130" y="503"/>
                    </a:lnTo>
                    <a:lnTo>
                      <a:pt x="129" y="505"/>
                    </a:lnTo>
                    <a:lnTo>
                      <a:pt x="129" y="508"/>
                    </a:lnTo>
                    <a:lnTo>
                      <a:pt x="126" y="512"/>
                    </a:lnTo>
                    <a:lnTo>
                      <a:pt x="126" y="514"/>
                    </a:lnTo>
                    <a:lnTo>
                      <a:pt x="126" y="518"/>
                    </a:lnTo>
                    <a:lnTo>
                      <a:pt x="127" y="524"/>
                    </a:lnTo>
                    <a:lnTo>
                      <a:pt x="127" y="528"/>
                    </a:lnTo>
                    <a:lnTo>
                      <a:pt x="126" y="533"/>
                    </a:lnTo>
                    <a:lnTo>
                      <a:pt x="124" y="536"/>
                    </a:lnTo>
                    <a:lnTo>
                      <a:pt x="123" y="538"/>
                    </a:lnTo>
                    <a:lnTo>
                      <a:pt x="122" y="536"/>
                    </a:lnTo>
                    <a:lnTo>
                      <a:pt x="120" y="532"/>
                    </a:lnTo>
                    <a:lnTo>
                      <a:pt x="120" y="531"/>
                    </a:lnTo>
                    <a:lnTo>
                      <a:pt x="120" y="529"/>
                    </a:lnTo>
                    <a:lnTo>
                      <a:pt x="116" y="528"/>
                    </a:lnTo>
                    <a:lnTo>
                      <a:pt x="115" y="528"/>
                    </a:lnTo>
                    <a:lnTo>
                      <a:pt x="113" y="528"/>
                    </a:lnTo>
                    <a:lnTo>
                      <a:pt x="112" y="528"/>
                    </a:lnTo>
                    <a:lnTo>
                      <a:pt x="111" y="526"/>
                    </a:lnTo>
                    <a:lnTo>
                      <a:pt x="108" y="522"/>
                    </a:lnTo>
                    <a:lnTo>
                      <a:pt x="106" y="519"/>
                    </a:lnTo>
                    <a:lnTo>
                      <a:pt x="106" y="518"/>
                    </a:lnTo>
                    <a:lnTo>
                      <a:pt x="106" y="512"/>
                    </a:lnTo>
                    <a:lnTo>
                      <a:pt x="106" y="510"/>
                    </a:lnTo>
                    <a:lnTo>
                      <a:pt x="106" y="505"/>
                    </a:lnTo>
                    <a:lnTo>
                      <a:pt x="105" y="508"/>
                    </a:lnTo>
                    <a:lnTo>
                      <a:pt x="105" y="512"/>
                    </a:lnTo>
                    <a:lnTo>
                      <a:pt x="104" y="514"/>
                    </a:lnTo>
                    <a:lnTo>
                      <a:pt x="102" y="515"/>
                    </a:lnTo>
                    <a:lnTo>
                      <a:pt x="102" y="517"/>
                    </a:lnTo>
                    <a:lnTo>
                      <a:pt x="104" y="518"/>
                    </a:lnTo>
                    <a:lnTo>
                      <a:pt x="104" y="519"/>
                    </a:lnTo>
                    <a:lnTo>
                      <a:pt x="102" y="524"/>
                    </a:lnTo>
                    <a:lnTo>
                      <a:pt x="99" y="531"/>
                    </a:lnTo>
                    <a:lnTo>
                      <a:pt x="98" y="532"/>
                    </a:lnTo>
                    <a:lnTo>
                      <a:pt x="98" y="533"/>
                    </a:lnTo>
                    <a:lnTo>
                      <a:pt x="97" y="532"/>
                    </a:lnTo>
                    <a:lnTo>
                      <a:pt x="94" y="535"/>
                    </a:lnTo>
                    <a:lnTo>
                      <a:pt x="92" y="535"/>
                    </a:lnTo>
                    <a:lnTo>
                      <a:pt x="91" y="532"/>
                    </a:lnTo>
                    <a:lnTo>
                      <a:pt x="88" y="529"/>
                    </a:lnTo>
                    <a:lnTo>
                      <a:pt x="87" y="529"/>
                    </a:lnTo>
                    <a:lnTo>
                      <a:pt x="88" y="531"/>
                    </a:lnTo>
                    <a:lnTo>
                      <a:pt x="90" y="533"/>
                    </a:lnTo>
                    <a:lnTo>
                      <a:pt x="88" y="535"/>
                    </a:lnTo>
                    <a:lnTo>
                      <a:pt x="88" y="535"/>
                    </a:lnTo>
                    <a:lnTo>
                      <a:pt x="87" y="536"/>
                    </a:lnTo>
                    <a:lnTo>
                      <a:pt x="83" y="539"/>
                    </a:lnTo>
                    <a:lnTo>
                      <a:pt x="84" y="540"/>
                    </a:lnTo>
                    <a:lnTo>
                      <a:pt x="83" y="542"/>
                    </a:lnTo>
                    <a:lnTo>
                      <a:pt x="81" y="543"/>
                    </a:lnTo>
                    <a:lnTo>
                      <a:pt x="80" y="543"/>
                    </a:lnTo>
                    <a:lnTo>
                      <a:pt x="80" y="544"/>
                    </a:lnTo>
                    <a:lnTo>
                      <a:pt x="76" y="549"/>
                    </a:lnTo>
                    <a:lnTo>
                      <a:pt x="67" y="557"/>
                    </a:lnTo>
                    <a:lnTo>
                      <a:pt x="65" y="560"/>
                    </a:lnTo>
                    <a:lnTo>
                      <a:pt x="62" y="563"/>
                    </a:lnTo>
                    <a:lnTo>
                      <a:pt x="59" y="563"/>
                    </a:lnTo>
                    <a:lnTo>
                      <a:pt x="56" y="565"/>
                    </a:lnTo>
                    <a:lnTo>
                      <a:pt x="49" y="567"/>
                    </a:lnTo>
                    <a:lnTo>
                      <a:pt x="44" y="567"/>
                    </a:lnTo>
                    <a:lnTo>
                      <a:pt x="41" y="567"/>
                    </a:lnTo>
                    <a:lnTo>
                      <a:pt x="38" y="565"/>
                    </a:lnTo>
                    <a:lnTo>
                      <a:pt x="38" y="564"/>
                    </a:lnTo>
                    <a:lnTo>
                      <a:pt x="38" y="564"/>
                    </a:lnTo>
                    <a:lnTo>
                      <a:pt x="38" y="563"/>
                    </a:lnTo>
                    <a:lnTo>
                      <a:pt x="38" y="563"/>
                    </a:lnTo>
                    <a:lnTo>
                      <a:pt x="37" y="563"/>
                    </a:lnTo>
                    <a:lnTo>
                      <a:pt x="37" y="564"/>
                    </a:lnTo>
                    <a:lnTo>
                      <a:pt x="37" y="565"/>
                    </a:lnTo>
                    <a:lnTo>
                      <a:pt x="35" y="565"/>
                    </a:lnTo>
                    <a:lnTo>
                      <a:pt x="33" y="564"/>
                    </a:lnTo>
                    <a:lnTo>
                      <a:pt x="33" y="564"/>
                    </a:lnTo>
                    <a:lnTo>
                      <a:pt x="33" y="563"/>
                    </a:lnTo>
                    <a:lnTo>
                      <a:pt x="35" y="560"/>
                    </a:lnTo>
                    <a:lnTo>
                      <a:pt x="34" y="560"/>
                    </a:lnTo>
                    <a:lnTo>
                      <a:pt x="34" y="558"/>
                    </a:lnTo>
                    <a:lnTo>
                      <a:pt x="34" y="558"/>
                    </a:lnTo>
                    <a:lnTo>
                      <a:pt x="31" y="560"/>
                    </a:lnTo>
                    <a:lnTo>
                      <a:pt x="30" y="558"/>
                    </a:lnTo>
                    <a:lnTo>
                      <a:pt x="23" y="556"/>
                    </a:lnTo>
                    <a:lnTo>
                      <a:pt x="21" y="553"/>
                    </a:lnTo>
                    <a:lnTo>
                      <a:pt x="17" y="550"/>
                    </a:lnTo>
                    <a:lnTo>
                      <a:pt x="14" y="547"/>
                    </a:lnTo>
                    <a:lnTo>
                      <a:pt x="13" y="543"/>
                    </a:lnTo>
                    <a:lnTo>
                      <a:pt x="13" y="539"/>
                    </a:lnTo>
                    <a:lnTo>
                      <a:pt x="14" y="535"/>
                    </a:lnTo>
                    <a:lnTo>
                      <a:pt x="16" y="533"/>
                    </a:lnTo>
                    <a:lnTo>
                      <a:pt x="20" y="535"/>
                    </a:lnTo>
                    <a:lnTo>
                      <a:pt x="24" y="538"/>
                    </a:lnTo>
                    <a:lnTo>
                      <a:pt x="24" y="538"/>
                    </a:lnTo>
                    <a:lnTo>
                      <a:pt x="26" y="535"/>
                    </a:lnTo>
                    <a:lnTo>
                      <a:pt x="28" y="533"/>
                    </a:lnTo>
                    <a:lnTo>
                      <a:pt x="28" y="533"/>
                    </a:lnTo>
                    <a:lnTo>
                      <a:pt x="24" y="535"/>
                    </a:lnTo>
                    <a:lnTo>
                      <a:pt x="23" y="533"/>
                    </a:lnTo>
                    <a:lnTo>
                      <a:pt x="20" y="531"/>
                    </a:lnTo>
                    <a:lnTo>
                      <a:pt x="20" y="531"/>
                    </a:lnTo>
                    <a:lnTo>
                      <a:pt x="21" y="529"/>
                    </a:lnTo>
                    <a:lnTo>
                      <a:pt x="21" y="526"/>
                    </a:lnTo>
                    <a:lnTo>
                      <a:pt x="21" y="525"/>
                    </a:lnTo>
                    <a:lnTo>
                      <a:pt x="21" y="522"/>
                    </a:lnTo>
                    <a:lnTo>
                      <a:pt x="23" y="521"/>
                    </a:lnTo>
                    <a:lnTo>
                      <a:pt x="26" y="518"/>
                    </a:lnTo>
                    <a:lnTo>
                      <a:pt x="28" y="515"/>
                    </a:lnTo>
                    <a:lnTo>
                      <a:pt x="30" y="514"/>
                    </a:lnTo>
                    <a:lnTo>
                      <a:pt x="30" y="514"/>
                    </a:lnTo>
                    <a:lnTo>
                      <a:pt x="27" y="514"/>
                    </a:lnTo>
                    <a:lnTo>
                      <a:pt x="26" y="517"/>
                    </a:lnTo>
                    <a:lnTo>
                      <a:pt x="23" y="518"/>
                    </a:lnTo>
                    <a:lnTo>
                      <a:pt x="20" y="521"/>
                    </a:lnTo>
                    <a:lnTo>
                      <a:pt x="17" y="522"/>
                    </a:lnTo>
                    <a:lnTo>
                      <a:pt x="16" y="522"/>
                    </a:lnTo>
                    <a:lnTo>
                      <a:pt x="14" y="524"/>
                    </a:lnTo>
                    <a:lnTo>
                      <a:pt x="13" y="526"/>
                    </a:lnTo>
                    <a:lnTo>
                      <a:pt x="10" y="528"/>
                    </a:lnTo>
                    <a:lnTo>
                      <a:pt x="7" y="528"/>
                    </a:lnTo>
                    <a:lnTo>
                      <a:pt x="6" y="525"/>
                    </a:lnTo>
                    <a:lnTo>
                      <a:pt x="7" y="517"/>
                    </a:lnTo>
                    <a:lnTo>
                      <a:pt x="9" y="514"/>
                    </a:lnTo>
                    <a:lnTo>
                      <a:pt x="10" y="511"/>
                    </a:lnTo>
                    <a:lnTo>
                      <a:pt x="12" y="510"/>
                    </a:lnTo>
                    <a:lnTo>
                      <a:pt x="13" y="508"/>
                    </a:lnTo>
                    <a:lnTo>
                      <a:pt x="13" y="508"/>
                    </a:lnTo>
                    <a:lnTo>
                      <a:pt x="14" y="508"/>
                    </a:lnTo>
                    <a:lnTo>
                      <a:pt x="19" y="510"/>
                    </a:lnTo>
                    <a:lnTo>
                      <a:pt x="20" y="507"/>
                    </a:lnTo>
                    <a:lnTo>
                      <a:pt x="21" y="507"/>
                    </a:lnTo>
                    <a:lnTo>
                      <a:pt x="26" y="504"/>
                    </a:lnTo>
                    <a:lnTo>
                      <a:pt x="26" y="504"/>
                    </a:lnTo>
                    <a:lnTo>
                      <a:pt x="23" y="504"/>
                    </a:lnTo>
                    <a:lnTo>
                      <a:pt x="21" y="504"/>
                    </a:lnTo>
                    <a:lnTo>
                      <a:pt x="19" y="505"/>
                    </a:lnTo>
                    <a:lnTo>
                      <a:pt x="19" y="504"/>
                    </a:lnTo>
                    <a:lnTo>
                      <a:pt x="17" y="503"/>
                    </a:lnTo>
                    <a:lnTo>
                      <a:pt x="19" y="501"/>
                    </a:lnTo>
                    <a:lnTo>
                      <a:pt x="23" y="497"/>
                    </a:lnTo>
                    <a:lnTo>
                      <a:pt x="24" y="494"/>
                    </a:lnTo>
                    <a:lnTo>
                      <a:pt x="24" y="493"/>
                    </a:lnTo>
                    <a:lnTo>
                      <a:pt x="24" y="492"/>
                    </a:lnTo>
                    <a:lnTo>
                      <a:pt x="24" y="489"/>
                    </a:lnTo>
                    <a:lnTo>
                      <a:pt x="28" y="485"/>
                    </a:lnTo>
                    <a:lnTo>
                      <a:pt x="31" y="483"/>
                    </a:lnTo>
                    <a:lnTo>
                      <a:pt x="33" y="485"/>
                    </a:lnTo>
                    <a:lnTo>
                      <a:pt x="31" y="490"/>
                    </a:lnTo>
                    <a:lnTo>
                      <a:pt x="31" y="492"/>
                    </a:lnTo>
                    <a:lnTo>
                      <a:pt x="34" y="485"/>
                    </a:lnTo>
                    <a:lnTo>
                      <a:pt x="35" y="482"/>
                    </a:lnTo>
                    <a:lnTo>
                      <a:pt x="37" y="480"/>
                    </a:lnTo>
                    <a:lnTo>
                      <a:pt x="39" y="480"/>
                    </a:lnTo>
                    <a:lnTo>
                      <a:pt x="41" y="479"/>
                    </a:lnTo>
                    <a:lnTo>
                      <a:pt x="37" y="479"/>
                    </a:lnTo>
                    <a:lnTo>
                      <a:pt x="28" y="482"/>
                    </a:lnTo>
                    <a:lnTo>
                      <a:pt x="26" y="485"/>
                    </a:lnTo>
                    <a:lnTo>
                      <a:pt x="24" y="487"/>
                    </a:lnTo>
                    <a:lnTo>
                      <a:pt x="21" y="490"/>
                    </a:lnTo>
                    <a:lnTo>
                      <a:pt x="20" y="492"/>
                    </a:lnTo>
                    <a:lnTo>
                      <a:pt x="20" y="496"/>
                    </a:lnTo>
                    <a:lnTo>
                      <a:pt x="19" y="497"/>
                    </a:lnTo>
                    <a:lnTo>
                      <a:pt x="17" y="497"/>
                    </a:lnTo>
                    <a:lnTo>
                      <a:pt x="14" y="501"/>
                    </a:lnTo>
                    <a:lnTo>
                      <a:pt x="13" y="504"/>
                    </a:lnTo>
                    <a:lnTo>
                      <a:pt x="10" y="507"/>
                    </a:lnTo>
                    <a:lnTo>
                      <a:pt x="9" y="508"/>
                    </a:lnTo>
                    <a:lnTo>
                      <a:pt x="9" y="508"/>
                    </a:lnTo>
                    <a:lnTo>
                      <a:pt x="7" y="511"/>
                    </a:lnTo>
                    <a:lnTo>
                      <a:pt x="6" y="511"/>
                    </a:lnTo>
                    <a:lnTo>
                      <a:pt x="6" y="510"/>
                    </a:lnTo>
                    <a:lnTo>
                      <a:pt x="6" y="507"/>
                    </a:lnTo>
                    <a:lnTo>
                      <a:pt x="6" y="504"/>
                    </a:lnTo>
                    <a:lnTo>
                      <a:pt x="7" y="501"/>
                    </a:lnTo>
                    <a:lnTo>
                      <a:pt x="7" y="498"/>
                    </a:lnTo>
                    <a:lnTo>
                      <a:pt x="7" y="496"/>
                    </a:lnTo>
                    <a:lnTo>
                      <a:pt x="7" y="494"/>
                    </a:lnTo>
                    <a:lnTo>
                      <a:pt x="9" y="494"/>
                    </a:lnTo>
                    <a:lnTo>
                      <a:pt x="10" y="496"/>
                    </a:lnTo>
                    <a:lnTo>
                      <a:pt x="13" y="496"/>
                    </a:lnTo>
                    <a:lnTo>
                      <a:pt x="17" y="493"/>
                    </a:lnTo>
                    <a:lnTo>
                      <a:pt x="16" y="492"/>
                    </a:lnTo>
                    <a:lnTo>
                      <a:pt x="14" y="492"/>
                    </a:lnTo>
                    <a:lnTo>
                      <a:pt x="12" y="492"/>
                    </a:lnTo>
                    <a:lnTo>
                      <a:pt x="9" y="490"/>
                    </a:lnTo>
                    <a:lnTo>
                      <a:pt x="7" y="486"/>
                    </a:lnTo>
                    <a:lnTo>
                      <a:pt x="6" y="482"/>
                    </a:lnTo>
                    <a:lnTo>
                      <a:pt x="7" y="480"/>
                    </a:lnTo>
                    <a:lnTo>
                      <a:pt x="14" y="475"/>
                    </a:lnTo>
                    <a:lnTo>
                      <a:pt x="16" y="472"/>
                    </a:lnTo>
                    <a:lnTo>
                      <a:pt x="14" y="472"/>
                    </a:lnTo>
                    <a:lnTo>
                      <a:pt x="12" y="475"/>
                    </a:lnTo>
                    <a:lnTo>
                      <a:pt x="9" y="476"/>
                    </a:lnTo>
                    <a:lnTo>
                      <a:pt x="6" y="475"/>
                    </a:lnTo>
                    <a:lnTo>
                      <a:pt x="5" y="472"/>
                    </a:lnTo>
                    <a:lnTo>
                      <a:pt x="5" y="466"/>
                    </a:lnTo>
                    <a:lnTo>
                      <a:pt x="5" y="464"/>
                    </a:lnTo>
                    <a:lnTo>
                      <a:pt x="5" y="459"/>
                    </a:lnTo>
                    <a:lnTo>
                      <a:pt x="6" y="458"/>
                    </a:lnTo>
                    <a:lnTo>
                      <a:pt x="7" y="458"/>
                    </a:lnTo>
                    <a:lnTo>
                      <a:pt x="9" y="459"/>
                    </a:lnTo>
                    <a:lnTo>
                      <a:pt x="13" y="458"/>
                    </a:lnTo>
                    <a:lnTo>
                      <a:pt x="21" y="457"/>
                    </a:lnTo>
                    <a:lnTo>
                      <a:pt x="27" y="458"/>
                    </a:lnTo>
                    <a:lnTo>
                      <a:pt x="30" y="458"/>
                    </a:lnTo>
                    <a:lnTo>
                      <a:pt x="34" y="455"/>
                    </a:lnTo>
                    <a:lnTo>
                      <a:pt x="37" y="455"/>
                    </a:lnTo>
                    <a:lnTo>
                      <a:pt x="38" y="457"/>
                    </a:lnTo>
                    <a:lnTo>
                      <a:pt x="39" y="458"/>
                    </a:lnTo>
                    <a:lnTo>
                      <a:pt x="39" y="461"/>
                    </a:lnTo>
                    <a:lnTo>
                      <a:pt x="41" y="462"/>
                    </a:lnTo>
                    <a:lnTo>
                      <a:pt x="42" y="462"/>
                    </a:lnTo>
                    <a:lnTo>
                      <a:pt x="41" y="459"/>
                    </a:lnTo>
                    <a:lnTo>
                      <a:pt x="41" y="457"/>
                    </a:lnTo>
                    <a:lnTo>
                      <a:pt x="51" y="454"/>
                    </a:lnTo>
                    <a:lnTo>
                      <a:pt x="52" y="453"/>
                    </a:lnTo>
                    <a:lnTo>
                      <a:pt x="48" y="453"/>
                    </a:lnTo>
                    <a:lnTo>
                      <a:pt x="46" y="450"/>
                    </a:lnTo>
                    <a:lnTo>
                      <a:pt x="49" y="446"/>
                    </a:lnTo>
                    <a:lnTo>
                      <a:pt x="48" y="444"/>
                    </a:lnTo>
                    <a:lnTo>
                      <a:pt x="46" y="447"/>
                    </a:lnTo>
                    <a:lnTo>
                      <a:pt x="45" y="450"/>
                    </a:lnTo>
                    <a:lnTo>
                      <a:pt x="46" y="453"/>
                    </a:lnTo>
                    <a:lnTo>
                      <a:pt x="45" y="454"/>
                    </a:lnTo>
                    <a:lnTo>
                      <a:pt x="44" y="454"/>
                    </a:lnTo>
                    <a:lnTo>
                      <a:pt x="39" y="455"/>
                    </a:lnTo>
                    <a:lnTo>
                      <a:pt x="37" y="454"/>
                    </a:lnTo>
                    <a:lnTo>
                      <a:pt x="34" y="453"/>
                    </a:lnTo>
                    <a:lnTo>
                      <a:pt x="34" y="453"/>
                    </a:lnTo>
                    <a:lnTo>
                      <a:pt x="34" y="450"/>
                    </a:lnTo>
                    <a:lnTo>
                      <a:pt x="33" y="450"/>
                    </a:lnTo>
                    <a:lnTo>
                      <a:pt x="33" y="451"/>
                    </a:lnTo>
                    <a:lnTo>
                      <a:pt x="31" y="455"/>
                    </a:lnTo>
                    <a:lnTo>
                      <a:pt x="30" y="455"/>
                    </a:lnTo>
                    <a:lnTo>
                      <a:pt x="24" y="454"/>
                    </a:lnTo>
                    <a:lnTo>
                      <a:pt x="16" y="455"/>
                    </a:lnTo>
                    <a:lnTo>
                      <a:pt x="12" y="457"/>
                    </a:lnTo>
                    <a:lnTo>
                      <a:pt x="10" y="457"/>
                    </a:lnTo>
                    <a:lnTo>
                      <a:pt x="6" y="454"/>
                    </a:lnTo>
                    <a:lnTo>
                      <a:pt x="5" y="451"/>
                    </a:lnTo>
                    <a:lnTo>
                      <a:pt x="3" y="447"/>
                    </a:lnTo>
                    <a:lnTo>
                      <a:pt x="5" y="444"/>
                    </a:lnTo>
                    <a:lnTo>
                      <a:pt x="7" y="444"/>
                    </a:lnTo>
                    <a:lnTo>
                      <a:pt x="9" y="444"/>
                    </a:lnTo>
                    <a:lnTo>
                      <a:pt x="10" y="443"/>
                    </a:lnTo>
                    <a:lnTo>
                      <a:pt x="9" y="441"/>
                    </a:lnTo>
                    <a:lnTo>
                      <a:pt x="7" y="440"/>
                    </a:lnTo>
                    <a:lnTo>
                      <a:pt x="6" y="437"/>
                    </a:lnTo>
                    <a:lnTo>
                      <a:pt x="5" y="436"/>
                    </a:lnTo>
                    <a:lnTo>
                      <a:pt x="3" y="434"/>
                    </a:lnTo>
                    <a:lnTo>
                      <a:pt x="2" y="430"/>
                    </a:lnTo>
                    <a:lnTo>
                      <a:pt x="3" y="427"/>
                    </a:lnTo>
                    <a:lnTo>
                      <a:pt x="3" y="426"/>
                    </a:lnTo>
                    <a:lnTo>
                      <a:pt x="6" y="427"/>
                    </a:lnTo>
                    <a:lnTo>
                      <a:pt x="13" y="426"/>
                    </a:lnTo>
                    <a:lnTo>
                      <a:pt x="19" y="429"/>
                    </a:lnTo>
                    <a:lnTo>
                      <a:pt x="23" y="430"/>
                    </a:lnTo>
                    <a:lnTo>
                      <a:pt x="31" y="430"/>
                    </a:lnTo>
                    <a:lnTo>
                      <a:pt x="35" y="427"/>
                    </a:lnTo>
                    <a:lnTo>
                      <a:pt x="34" y="427"/>
                    </a:lnTo>
                    <a:lnTo>
                      <a:pt x="30" y="429"/>
                    </a:lnTo>
                    <a:lnTo>
                      <a:pt x="24" y="429"/>
                    </a:lnTo>
                    <a:lnTo>
                      <a:pt x="16" y="426"/>
                    </a:lnTo>
                    <a:lnTo>
                      <a:pt x="13" y="425"/>
                    </a:lnTo>
                    <a:lnTo>
                      <a:pt x="9" y="425"/>
                    </a:lnTo>
                    <a:lnTo>
                      <a:pt x="7" y="425"/>
                    </a:lnTo>
                    <a:lnTo>
                      <a:pt x="6" y="422"/>
                    </a:lnTo>
                    <a:lnTo>
                      <a:pt x="6" y="416"/>
                    </a:lnTo>
                    <a:lnTo>
                      <a:pt x="9" y="415"/>
                    </a:lnTo>
                    <a:lnTo>
                      <a:pt x="9" y="416"/>
                    </a:lnTo>
                    <a:lnTo>
                      <a:pt x="10" y="416"/>
                    </a:lnTo>
                    <a:lnTo>
                      <a:pt x="12" y="415"/>
                    </a:lnTo>
                    <a:lnTo>
                      <a:pt x="13" y="413"/>
                    </a:lnTo>
                    <a:lnTo>
                      <a:pt x="14" y="411"/>
                    </a:lnTo>
                    <a:lnTo>
                      <a:pt x="17" y="408"/>
                    </a:lnTo>
                    <a:lnTo>
                      <a:pt x="19" y="408"/>
                    </a:lnTo>
                    <a:lnTo>
                      <a:pt x="20" y="407"/>
                    </a:lnTo>
                    <a:lnTo>
                      <a:pt x="21" y="407"/>
                    </a:lnTo>
                    <a:lnTo>
                      <a:pt x="23" y="408"/>
                    </a:lnTo>
                    <a:lnTo>
                      <a:pt x="24" y="409"/>
                    </a:lnTo>
                    <a:lnTo>
                      <a:pt x="26" y="409"/>
                    </a:lnTo>
                    <a:lnTo>
                      <a:pt x="33" y="407"/>
                    </a:lnTo>
                    <a:lnTo>
                      <a:pt x="34" y="407"/>
                    </a:lnTo>
                    <a:lnTo>
                      <a:pt x="35" y="405"/>
                    </a:lnTo>
                    <a:lnTo>
                      <a:pt x="31" y="405"/>
                    </a:lnTo>
                    <a:lnTo>
                      <a:pt x="27" y="407"/>
                    </a:lnTo>
                    <a:lnTo>
                      <a:pt x="24" y="407"/>
                    </a:lnTo>
                    <a:lnTo>
                      <a:pt x="24" y="405"/>
                    </a:lnTo>
                    <a:lnTo>
                      <a:pt x="26" y="404"/>
                    </a:lnTo>
                    <a:lnTo>
                      <a:pt x="27" y="402"/>
                    </a:lnTo>
                    <a:lnTo>
                      <a:pt x="27" y="400"/>
                    </a:lnTo>
                    <a:lnTo>
                      <a:pt x="28" y="398"/>
                    </a:lnTo>
                    <a:lnTo>
                      <a:pt x="30" y="400"/>
                    </a:lnTo>
                    <a:lnTo>
                      <a:pt x="34" y="398"/>
                    </a:lnTo>
                    <a:lnTo>
                      <a:pt x="35" y="398"/>
                    </a:lnTo>
                    <a:lnTo>
                      <a:pt x="39" y="398"/>
                    </a:lnTo>
                    <a:lnTo>
                      <a:pt x="45" y="400"/>
                    </a:lnTo>
                    <a:lnTo>
                      <a:pt x="49" y="401"/>
                    </a:lnTo>
                    <a:lnTo>
                      <a:pt x="51" y="401"/>
                    </a:lnTo>
                    <a:lnTo>
                      <a:pt x="52" y="401"/>
                    </a:lnTo>
                    <a:lnTo>
                      <a:pt x="53" y="400"/>
                    </a:lnTo>
                    <a:lnTo>
                      <a:pt x="51" y="400"/>
                    </a:lnTo>
                    <a:lnTo>
                      <a:pt x="49" y="398"/>
                    </a:lnTo>
                    <a:lnTo>
                      <a:pt x="51" y="397"/>
                    </a:lnTo>
                    <a:lnTo>
                      <a:pt x="55" y="394"/>
                    </a:lnTo>
                    <a:lnTo>
                      <a:pt x="60" y="394"/>
                    </a:lnTo>
                    <a:lnTo>
                      <a:pt x="59" y="393"/>
                    </a:lnTo>
                    <a:lnTo>
                      <a:pt x="48" y="395"/>
                    </a:lnTo>
                    <a:lnTo>
                      <a:pt x="45" y="393"/>
                    </a:lnTo>
                    <a:lnTo>
                      <a:pt x="42" y="393"/>
                    </a:lnTo>
                    <a:lnTo>
                      <a:pt x="41" y="394"/>
                    </a:lnTo>
                    <a:lnTo>
                      <a:pt x="37" y="395"/>
                    </a:lnTo>
                    <a:lnTo>
                      <a:pt x="35" y="394"/>
                    </a:lnTo>
                    <a:lnTo>
                      <a:pt x="37" y="391"/>
                    </a:lnTo>
                    <a:lnTo>
                      <a:pt x="39" y="387"/>
                    </a:lnTo>
                    <a:lnTo>
                      <a:pt x="39" y="386"/>
                    </a:lnTo>
                    <a:lnTo>
                      <a:pt x="41" y="386"/>
                    </a:lnTo>
                    <a:lnTo>
                      <a:pt x="48" y="383"/>
                    </a:lnTo>
                    <a:lnTo>
                      <a:pt x="51" y="380"/>
                    </a:lnTo>
                    <a:lnTo>
                      <a:pt x="52" y="379"/>
                    </a:lnTo>
                    <a:lnTo>
                      <a:pt x="53" y="379"/>
                    </a:lnTo>
                    <a:lnTo>
                      <a:pt x="56" y="379"/>
                    </a:lnTo>
                    <a:lnTo>
                      <a:pt x="60" y="380"/>
                    </a:lnTo>
                    <a:lnTo>
                      <a:pt x="62" y="384"/>
                    </a:lnTo>
                    <a:lnTo>
                      <a:pt x="65" y="384"/>
                    </a:lnTo>
                    <a:lnTo>
                      <a:pt x="70" y="390"/>
                    </a:lnTo>
                    <a:lnTo>
                      <a:pt x="70" y="388"/>
                    </a:lnTo>
                    <a:lnTo>
                      <a:pt x="65" y="381"/>
                    </a:lnTo>
                    <a:lnTo>
                      <a:pt x="63" y="380"/>
                    </a:lnTo>
                    <a:lnTo>
                      <a:pt x="62" y="377"/>
                    </a:lnTo>
                    <a:lnTo>
                      <a:pt x="62" y="374"/>
                    </a:lnTo>
                    <a:lnTo>
                      <a:pt x="63" y="372"/>
                    </a:lnTo>
                    <a:lnTo>
                      <a:pt x="69" y="370"/>
                    </a:lnTo>
                    <a:lnTo>
                      <a:pt x="70" y="370"/>
                    </a:lnTo>
                    <a:lnTo>
                      <a:pt x="70" y="368"/>
                    </a:lnTo>
                    <a:lnTo>
                      <a:pt x="69" y="366"/>
                    </a:lnTo>
                    <a:lnTo>
                      <a:pt x="67" y="366"/>
                    </a:lnTo>
                    <a:lnTo>
                      <a:pt x="66" y="366"/>
                    </a:lnTo>
                    <a:lnTo>
                      <a:pt x="65" y="363"/>
                    </a:lnTo>
                    <a:lnTo>
                      <a:pt x="66" y="362"/>
                    </a:lnTo>
                    <a:lnTo>
                      <a:pt x="69" y="359"/>
                    </a:lnTo>
                    <a:lnTo>
                      <a:pt x="70" y="358"/>
                    </a:lnTo>
                    <a:lnTo>
                      <a:pt x="74" y="358"/>
                    </a:lnTo>
                    <a:lnTo>
                      <a:pt x="78" y="359"/>
                    </a:lnTo>
                    <a:lnTo>
                      <a:pt x="80" y="361"/>
                    </a:lnTo>
                    <a:lnTo>
                      <a:pt x="78" y="363"/>
                    </a:lnTo>
                    <a:lnTo>
                      <a:pt x="78" y="365"/>
                    </a:lnTo>
                    <a:lnTo>
                      <a:pt x="80" y="365"/>
                    </a:lnTo>
                    <a:lnTo>
                      <a:pt x="83" y="361"/>
                    </a:lnTo>
                    <a:lnTo>
                      <a:pt x="85" y="359"/>
                    </a:lnTo>
                    <a:lnTo>
                      <a:pt x="88" y="359"/>
                    </a:lnTo>
                    <a:lnTo>
                      <a:pt x="90" y="358"/>
                    </a:lnTo>
                    <a:lnTo>
                      <a:pt x="92" y="362"/>
                    </a:lnTo>
                    <a:lnTo>
                      <a:pt x="92" y="363"/>
                    </a:lnTo>
                    <a:lnTo>
                      <a:pt x="94" y="365"/>
                    </a:lnTo>
                    <a:lnTo>
                      <a:pt x="94" y="368"/>
                    </a:lnTo>
                    <a:lnTo>
                      <a:pt x="95" y="368"/>
                    </a:lnTo>
                    <a:lnTo>
                      <a:pt x="97" y="366"/>
                    </a:lnTo>
                    <a:lnTo>
                      <a:pt x="98" y="365"/>
                    </a:lnTo>
                    <a:lnTo>
                      <a:pt x="101" y="365"/>
                    </a:lnTo>
                    <a:lnTo>
                      <a:pt x="105" y="365"/>
                    </a:lnTo>
                    <a:lnTo>
                      <a:pt x="108" y="365"/>
                    </a:lnTo>
                    <a:lnTo>
                      <a:pt x="109" y="365"/>
                    </a:lnTo>
                    <a:lnTo>
                      <a:pt x="108" y="362"/>
                    </a:lnTo>
                    <a:lnTo>
                      <a:pt x="108" y="361"/>
                    </a:lnTo>
                    <a:lnTo>
                      <a:pt x="108" y="358"/>
                    </a:lnTo>
                    <a:lnTo>
                      <a:pt x="109" y="358"/>
                    </a:lnTo>
                    <a:lnTo>
                      <a:pt x="112" y="355"/>
                    </a:lnTo>
                    <a:lnTo>
                      <a:pt x="115" y="355"/>
                    </a:lnTo>
                    <a:lnTo>
                      <a:pt x="117" y="352"/>
                    </a:lnTo>
                    <a:lnTo>
                      <a:pt x="120" y="351"/>
                    </a:lnTo>
                    <a:lnTo>
                      <a:pt x="119" y="349"/>
                    </a:lnTo>
                    <a:lnTo>
                      <a:pt x="119" y="348"/>
                    </a:lnTo>
                    <a:lnTo>
                      <a:pt x="117" y="348"/>
                    </a:lnTo>
                    <a:lnTo>
                      <a:pt x="116" y="347"/>
                    </a:lnTo>
                    <a:lnTo>
                      <a:pt x="119" y="345"/>
                    </a:lnTo>
                    <a:lnTo>
                      <a:pt x="122" y="342"/>
                    </a:lnTo>
                    <a:lnTo>
                      <a:pt x="120" y="342"/>
                    </a:lnTo>
                    <a:lnTo>
                      <a:pt x="119" y="341"/>
                    </a:lnTo>
                    <a:lnTo>
                      <a:pt x="117" y="341"/>
                    </a:lnTo>
                    <a:lnTo>
                      <a:pt x="115" y="344"/>
                    </a:lnTo>
                    <a:lnTo>
                      <a:pt x="112" y="347"/>
                    </a:lnTo>
                    <a:lnTo>
                      <a:pt x="112" y="347"/>
                    </a:lnTo>
                    <a:lnTo>
                      <a:pt x="113" y="349"/>
                    </a:lnTo>
                    <a:lnTo>
                      <a:pt x="112" y="352"/>
                    </a:lnTo>
                    <a:lnTo>
                      <a:pt x="101" y="361"/>
                    </a:lnTo>
                    <a:lnTo>
                      <a:pt x="95" y="363"/>
                    </a:lnTo>
                    <a:lnTo>
                      <a:pt x="94" y="362"/>
                    </a:lnTo>
                    <a:lnTo>
                      <a:pt x="92" y="361"/>
                    </a:lnTo>
                    <a:lnTo>
                      <a:pt x="92" y="359"/>
                    </a:lnTo>
                    <a:lnTo>
                      <a:pt x="91" y="355"/>
                    </a:lnTo>
                    <a:lnTo>
                      <a:pt x="88" y="355"/>
                    </a:lnTo>
                    <a:lnTo>
                      <a:pt x="87" y="356"/>
                    </a:lnTo>
                    <a:lnTo>
                      <a:pt x="87" y="355"/>
                    </a:lnTo>
                    <a:lnTo>
                      <a:pt x="88" y="351"/>
                    </a:lnTo>
                    <a:lnTo>
                      <a:pt x="90" y="348"/>
                    </a:lnTo>
                    <a:lnTo>
                      <a:pt x="92" y="347"/>
                    </a:lnTo>
                    <a:lnTo>
                      <a:pt x="94" y="344"/>
                    </a:lnTo>
                    <a:lnTo>
                      <a:pt x="95" y="340"/>
                    </a:lnTo>
                    <a:lnTo>
                      <a:pt x="99" y="335"/>
                    </a:lnTo>
                    <a:lnTo>
                      <a:pt x="105" y="326"/>
                    </a:lnTo>
                    <a:lnTo>
                      <a:pt x="111" y="322"/>
                    </a:lnTo>
                    <a:lnTo>
                      <a:pt x="112" y="319"/>
                    </a:lnTo>
                    <a:lnTo>
                      <a:pt x="115" y="317"/>
                    </a:lnTo>
                    <a:lnTo>
                      <a:pt x="117" y="315"/>
                    </a:lnTo>
                    <a:lnTo>
                      <a:pt x="119" y="315"/>
                    </a:lnTo>
                    <a:lnTo>
                      <a:pt x="123" y="312"/>
                    </a:lnTo>
                    <a:lnTo>
                      <a:pt x="124" y="309"/>
                    </a:lnTo>
                    <a:lnTo>
                      <a:pt x="123" y="309"/>
                    </a:lnTo>
                    <a:lnTo>
                      <a:pt x="120" y="310"/>
                    </a:lnTo>
                    <a:lnTo>
                      <a:pt x="119" y="312"/>
                    </a:lnTo>
                    <a:lnTo>
                      <a:pt x="119" y="308"/>
                    </a:lnTo>
                    <a:lnTo>
                      <a:pt x="119" y="305"/>
                    </a:lnTo>
                    <a:lnTo>
                      <a:pt x="122" y="302"/>
                    </a:lnTo>
                    <a:lnTo>
                      <a:pt x="134" y="292"/>
                    </a:lnTo>
                    <a:lnTo>
                      <a:pt x="136" y="295"/>
                    </a:lnTo>
                    <a:lnTo>
                      <a:pt x="137" y="296"/>
                    </a:lnTo>
                    <a:lnTo>
                      <a:pt x="140" y="296"/>
                    </a:lnTo>
                    <a:lnTo>
                      <a:pt x="144" y="291"/>
                    </a:lnTo>
                    <a:lnTo>
                      <a:pt x="148" y="285"/>
                    </a:lnTo>
                    <a:lnTo>
                      <a:pt x="145" y="287"/>
                    </a:lnTo>
                    <a:lnTo>
                      <a:pt x="144" y="289"/>
                    </a:lnTo>
                    <a:lnTo>
                      <a:pt x="140" y="292"/>
                    </a:lnTo>
                    <a:lnTo>
                      <a:pt x="138" y="292"/>
                    </a:lnTo>
                    <a:lnTo>
                      <a:pt x="138" y="292"/>
                    </a:lnTo>
                    <a:lnTo>
                      <a:pt x="137" y="291"/>
                    </a:lnTo>
                    <a:lnTo>
                      <a:pt x="136" y="289"/>
                    </a:lnTo>
                    <a:lnTo>
                      <a:pt x="134" y="289"/>
                    </a:lnTo>
                    <a:lnTo>
                      <a:pt x="134" y="288"/>
                    </a:lnTo>
                    <a:lnTo>
                      <a:pt x="133" y="285"/>
                    </a:lnTo>
                    <a:lnTo>
                      <a:pt x="134" y="280"/>
                    </a:lnTo>
                    <a:lnTo>
                      <a:pt x="136" y="276"/>
                    </a:lnTo>
                    <a:lnTo>
                      <a:pt x="137" y="273"/>
                    </a:lnTo>
                    <a:lnTo>
                      <a:pt x="143" y="266"/>
                    </a:lnTo>
                    <a:lnTo>
                      <a:pt x="144" y="262"/>
                    </a:lnTo>
                    <a:lnTo>
                      <a:pt x="145" y="259"/>
                    </a:lnTo>
                    <a:lnTo>
                      <a:pt x="150" y="259"/>
                    </a:lnTo>
                    <a:lnTo>
                      <a:pt x="150" y="259"/>
                    </a:lnTo>
                    <a:lnTo>
                      <a:pt x="150" y="256"/>
                    </a:lnTo>
                    <a:lnTo>
                      <a:pt x="145" y="253"/>
                    </a:lnTo>
                    <a:lnTo>
                      <a:pt x="145" y="252"/>
                    </a:lnTo>
                    <a:lnTo>
                      <a:pt x="156" y="249"/>
                    </a:lnTo>
                    <a:lnTo>
                      <a:pt x="162" y="249"/>
                    </a:lnTo>
                    <a:lnTo>
                      <a:pt x="163" y="246"/>
                    </a:lnTo>
                    <a:lnTo>
                      <a:pt x="166" y="246"/>
                    </a:lnTo>
                    <a:lnTo>
                      <a:pt x="168" y="243"/>
                    </a:lnTo>
                    <a:lnTo>
                      <a:pt x="168" y="242"/>
                    </a:lnTo>
                    <a:lnTo>
                      <a:pt x="162" y="245"/>
                    </a:lnTo>
                    <a:lnTo>
                      <a:pt x="158" y="245"/>
                    </a:lnTo>
                    <a:lnTo>
                      <a:pt x="156" y="245"/>
                    </a:lnTo>
                    <a:lnTo>
                      <a:pt x="155" y="246"/>
                    </a:lnTo>
                    <a:lnTo>
                      <a:pt x="151" y="246"/>
                    </a:lnTo>
                    <a:lnTo>
                      <a:pt x="151" y="238"/>
                    </a:lnTo>
                    <a:lnTo>
                      <a:pt x="151" y="232"/>
                    </a:lnTo>
                    <a:lnTo>
                      <a:pt x="152" y="232"/>
                    </a:lnTo>
                    <a:lnTo>
                      <a:pt x="154" y="228"/>
                    </a:lnTo>
                    <a:lnTo>
                      <a:pt x="155" y="225"/>
                    </a:lnTo>
                    <a:lnTo>
                      <a:pt x="158" y="224"/>
                    </a:lnTo>
                    <a:lnTo>
                      <a:pt x="159" y="223"/>
                    </a:lnTo>
                    <a:lnTo>
                      <a:pt x="161" y="221"/>
                    </a:lnTo>
                    <a:lnTo>
                      <a:pt x="163" y="221"/>
                    </a:lnTo>
                    <a:lnTo>
                      <a:pt x="166" y="221"/>
                    </a:lnTo>
                    <a:lnTo>
                      <a:pt x="166" y="220"/>
                    </a:lnTo>
                    <a:lnTo>
                      <a:pt x="162" y="218"/>
                    </a:lnTo>
                    <a:lnTo>
                      <a:pt x="161" y="216"/>
                    </a:lnTo>
                    <a:lnTo>
                      <a:pt x="162" y="214"/>
                    </a:lnTo>
                    <a:lnTo>
                      <a:pt x="163" y="213"/>
                    </a:lnTo>
                    <a:lnTo>
                      <a:pt x="165" y="213"/>
                    </a:lnTo>
                    <a:lnTo>
                      <a:pt x="168" y="207"/>
                    </a:lnTo>
                    <a:lnTo>
                      <a:pt x="169" y="206"/>
                    </a:lnTo>
                    <a:lnTo>
                      <a:pt x="172" y="206"/>
                    </a:lnTo>
                    <a:lnTo>
                      <a:pt x="173" y="204"/>
                    </a:lnTo>
                    <a:lnTo>
                      <a:pt x="176" y="204"/>
                    </a:lnTo>
                    <a:lnTo>
                      <a:pt x="179" y="203"/>
                    </a:lnTo>
                    <a:lnTo>
                      <a:pt x="182" y="202"/>
                    </a:lnTo>
                    <a:lnTo>
                      <a:pt x="193" y="202"/>
                    </a:lnTo>
                    <a:lnTo>
                      <a:pt x="194" y="200"/>
                    </a:lnTo>
                    <a:lnTo>
                      <a:pt x="191" y="199"/>
                    </a:lnTo>
                    <a:lnTo>
                      <a:pt x="183" y="199"/>
                    </a:lnTo>
                    <a:lnTo>
                      <a:pt x="177" y="199"/>
                    </a:lnTo>
                    <a:lnTo>
                      <a:pt x="176" y="199"/>
                    </a:lnTo>
                    <a:lnTo>
                      <a:pt x="176" y="199"/>
                    </a:lnTo>
                    <a:lnTo>
                      <a:pt x="176" y="197"/>
                    </a:lnTo>
                    <a:lnTo>
                      <a:pt x="177" y="196"/>
                    </a:lnTo>
                    <a:lnTo>
                      <a:pt x="177" y="193"/>
                    </a:lnTo>
                    <a:lnTo>
                      <a:pt x="182" y="188"/>
                    </a:lnTo>
                    <a:lnTo>
                      <a:pt x="184" y="185"/>
                    </a:lnTo>
                    <a:lnTo>
                      <a:pt x="187" y="185"/>
                    </a:lnTo>
                    <a:lnTo>
                      <a:pt x="191" y="189"/>
                    </a:lnTo>
                    <a:lnTo>
                      <a:pt x="193" y="189"/>
                    </a:lnTo>
                    <a:lnTo>
                      <a:pt x="194" y="191"/>
                    </a:lnTo>
                    <a:lnTo>
                      <a:pt x="196" y="195"/>
                    </a:lnTo>
                    <a:lnTo>
                      <a:pt x="197" y="195"/>
                    </a:lnTo>
                    <a:lnTo>
                      <a:pt x="196" y="191"/>
                    </a:lnTo>
                    <a:lnTo>
                      <a:pt x="198" y="186"/>
                    </a:lnTo>
                    <a:lnTo>
                      <a:pt x="198" y="186"/>
                    </a:lnTo>
                    <a:lnTo>
                      <a:pt x="194" y="188"/>
                    </a:lnTo>
                    <a:lnTo>
                      <a:pt x="193" y="186"/>
                    </a:lnTo>
                    <a:lnTo>
                      <a:pt x="190" y="184"/>
                    </a:lnTo>
                    <a:lnTo>
                      <a:pt x="190" y="181"/>
                    </a:lnTo>
                    <a:lnTo>
                      <a:pt x="191" y="178"/>
                    </a:lnTo>
                    <a:lnTo>
                      <a:pt x="191" y="177"/>
                    </a:lnTo>
                    <a:lnTo>
                      <a:pt x="191" y="175"/>
                    </a:lnTo>
                    <a:lnTo>
                      <a:pt x="186" y="179"/>
                    </a:lnTo>
                    <a:lnTo>
                      <a:pt x="183" y="181"/>
                    </a:lnTo>
                    <a:lnTo>
                      <a:pt x="182" y="179"/>
                    </a:lnTo>
                    <a:lnTo>
                      <a:pt x="183" y="177"/>
                    </a:lnTo>
                    <a:lnTo>
                      <a:pt x="182" y="172"/>
                    </a:lnTo>
                    <a:lnTo>
                      <a:pt x="187" y="165"/>
                    </a:lnTo>
                    <a:lnTo>
                      <a:pt x="189" y="165"/>
                    </a:lnTo>
                    <a:lnTo>
                      <a:pt x="190" y="165"/>
                    </a:lnTo>
                    <a:lnTo>
                      <a:pt x="193" y="168"/>
                    </a:lnTo>
                    <a:lnTo>
                      <a:pt x="196" y="167"/>
                    </a:lnTo>
                    <a:lnTo>
                      <a:pt x="197" y="167"/>
                    </a:lnTo>
                    <a:lnTo>
                      <a:pt x="197" y="164"/>
                    </a:lnTo>
                    <a:lnTo>
                      <a:pt x="193" y="164"/>
                    </a:lnTo>
                    <a:lnTo>
                      <a:pt x="191" y="163"/>
                    </a:lnTo>
                    <a:lnTo>
                      <a:pt x="191" y="160"/>
                    </a:lnTo>
                    <a:lnTo>
                      <a:pt x="194" y="158"/>
                    </a:lnTo>
                    <a:lnTo>
                      <a:pt x="197" y="156"/>
                    </a:lnTo>
                    <a:lnTo>
                      <a:pt x="201" y="156"/>
                    </a:lnTo>
                    <a:lnTo>
                      <a:pt x="204" y="153"/>
                    </a:lnTo>
                    <a:lnTo>
                      <a:pt x="204" y="153"/>
                    </a:lnTo>
                    <a:lnTo>
                      <a:pt x="205" y="154"/>
                    </a:lnTo>
                    <a:lnTo>
                      <a:pt x="207" y="163"/>
                    </a:lnTo>
                    <a:lnTo>
                      <a:pt x="208" y="170"/>
                    </a:lnTo>
                    <a:lnTo>
                      <a:pt x="209" y="170"/>
                    </a:lnTo>
                    <a:lnTo>
                      <a:pt x="208" y="164"/>
                    </a:lnTo>
                    <a:lnTo>
                      <a:pt x="209" y="163"/>
                    </a:lnTo>
                    <a:lnTo>
                      <a:pt x="211" y="161"/>
                    </a:lnTo>
                    <a:lnTo>
                      <a:pt x="211" y="160"/>
                    </a:lnTo>
                    <a:lnTo>
                      <a:pt x="209" y="158"/>
                    </a:lnTo>
                    <a:lnTo>
                      <a:pt x="208" y="157"/>
                    </a:lnTo>
                    <a:lnTo>
                      <a:pt x="207" y="150"/>
                    </a:lnTo>
                    <a:lnTo>
                      <a:pt x="208" y="149"/>
                    </a:lnTo>
                    <a:lnTo>
                      <a:pt x="211" y="145"/>
                    </a:lnTo>
                    <a:lnTo>
                      <a:pt x="215" y="145"/>
                    </a:lnTo>
                    <a:lnTo>
                      <a:pt x="219" y="146"/>
                    </a:lnTo>
                    <a:lnTo>
                      <a:pt x="221" y="146"/>
                    </a:lnTo>
                    <a:lnTo>
                      <a:pt x="223" y="146"/>
                    </a:lnTo>
                    <a:lnTo>
                      <a:pt x="228" y="143"/>
                    </a:lnTo>
                    <a:lnTo>
                      <a:pt x="230" y="143"/>
                    </a:lnTo>
                    <a:lnTo>
                      <a:pt x="232" y="143"/>
                    </a:lnTo>
                    <a:lnTo>
                      <a:pt x="232" y="142"/>
                    </a:lnTo>
                    <a:lnTo>
                      <a:pt x="232" y="142"/>
                    </a:lnTo>
                    <a:lnTo>
                      <a:pt x="230" y="140"/>
                    </a:lnTo>
                    <a:lnTo>
                      <a:pt x="230" y="140"/>
                    </a:lnTo>
                    <a:lnTo>
                      <a:pt x="226" y="142"/>
                    </a:lnTo>
                    <a:lnTo>
                      <a:pt x="215" y="140"/>
                    </a:lnTo>
                    <a:lnTo>
                      <a:pt x="214" y="140"/>
                    </a:lnTo>
                    <a:lnTo>
                      <a:pt x="214" y="138"/>
                    </a:lnTo>
                    <a:lnTo>
                      <a:pt x="215" y="135"/>
                    </a:lnTo>
                    <a:lnTo>
                      <a:pt x="215" y="133"/>
                    </a:lnTo>
                    <a:lnTo>
                      <a:pt x="219" y="131"/>
                    </a:lnTo>
                    <a:lnTo>
                      <a:pt x="225" y="129"/>
                    </a:lnTo>
                    <a:lnTo>
                      <a:pt x="229" y="125"/>
                    </a:lnTo>
                    <a:lnTo>
                      <a:pt x="230" y="121"/>
                    </a:lnTo>
                    <a:lnTo>
                      <a:pt x="232" y="114"/>
                    </a:lnTo>
                    <a:lnTo>
                      <a:pt x="235" y="110"/>
                    </a:lnTo>
                    <a:lnTo>
                      <a:pt x="241" y="107"/>
                    </a:lnTo>
                    <a:lnTo>
                      <a:pt x="243" y="106"/>
                    </a:lnTo>
                    <a:lnTo>
                      <a:pt x="241" y="103"/>
                    </a:lnTo>
                    <a:lnTo>
                      <a:pt x="241" y="97"/>
                    </a:lnTo>
                    <a:lnTo>
                      <a:pt x="243" y="92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47" y="92"/>
                    </a:lnTo>
                    <a:lnTo>
                      <a:pt x="248" y="96"/>
                    </a:lnTo>
                    <a:lnTo>
                      <a:pt x="251" y="99"/>
                    </a:lnTo>
                    <a:lnTo>
                      <a:pt x="255" y="99"/>
                    </a:lnTo>
                    <a:lnTo>
                      <a:pt x="257" y="97"/>
                    </a:lnTo>
                    <a:lnTo>
                      <a:pt x="254" y="94"/>
                    </a:lnTo>
                    <a:lnTo>
                      <a:pt x="251" y="92"/>
                    </a:lnTo>
                    <a:lnTo>
                      <a:pt x="251" y="89"/>
                    </a:lnTo>
                    <a:lnTo>
                      <a:pt x="253" y="87"/>
                    </a:lnTo>
                    <a:lnTo>
                      <a:pt x="254" y="87"/>
                    </a:lnTo>
                    <a:lnTo>
                      <a:pt x="257" y="87"/>
                    </a:lnTo>
                    <a:lnTo>
                      <a:pt x="258" y="86"/>
                    </a:lnTo>
                    <a:lnTo>
                      <a:pt x="258" y="85"/>
                    </a:lnTo>
                    <a:lnTo>
                      <a:pt x="258" y="82"/>
                    </a:lnTo>
                    <a:lnTo>
                      <a:pt x="260" y="80"/>
                    </a:lnTo>
                    <a:lnTo>
                      <a:pt x="262" y="76"/>
                    </a:lnTo>
                    <a:lnTo>
                      <a:pt x="271" y="73"/>
                    </a:lnTo>
                    <a:lnTo>
                      <a:pt x="271" y="73"/>
                    </a:lnTo>
                    <a:lnTo>
                      <a:pt x="271" y="83"/>
                    </a:lnTo>
                    <a:lnTo>
                      <a:pt x="269" y="89"/>
                    </a:lnTo>
                    <a:lnTo>
                      <a:pt x="269" y="93"/>
                    </a:lnTo>
                    <a:lnTo>
                      <a:pt x="272" y="89"/>
                    </a:lnTo>
                    <a:lnTo>
                      <a:pt x="274" y="78"/>
                    </a:lnTo>
                    <a:lnTo>
                      <a:pt x="276" y="72"/>
                    </a:lnTo>
                    <a:lnTo>
                      <a:pt x="278" y="69"/>
                    </a:lnTo>
                    <a:lnTo>
                      <a:pt x="279" y="68"/>
                    </a:lnTo>
                    <a:lnTo>
                      <a:pt x="280" y="67"/>
                    </a:lnTo>
                    <a:lnTo>
                      <a:pt x="282" y="65"/>
                    </a:lnTo>
                    <a:lnTo>
                      <a:pt x="283" y="67"/>
                    </a:lnTo>
                    <a:lnTo>
                      <a:pt x="283" y="69"/>
                    </a:lnTo>
                    <a:lnTo>
                      <a:pt x="282" y="79"/>
                    </a:lnTo>
                    <a:lnTo>
                      <a:pt x="283" y="83"/>
                    </a:lnTo>
                    <a:lnTo>
                      <a:pt x="282" y="87"/>
                    </a:lnTo>
                    <a:lnTo>
                      <a:pt x="278" y="96"/>
                    </a:lnTo>
                    <a:lnTo>
                      <a:pt x="278" y="97"/>
                    </a:lnTo>
                    <a:lnTo>
                      <a:pt x="278" y="97"/>
                    </a:lnTo>
                    <a:lnTo>
                      <a:pt x="280" y="96"/>
                    </a:lnTo>
                    <a:lnTo>
                      <a:pt x="285" y="86"/>
                    </a:lnTo>
                    <a:lnTo>
                      <a:pt x="290" y="87"/>
                    </a:lnTo>
                    <a:lnTo>
                      <a:pt x="290" y="87"/>
                    </a:lnTo>
                    <a:lnTo>
                      <a:pt x="289" y="85"/>
                    </a:lnTo>
                    <a:lnTo>
                      <a:pt x="286" y="82"/>
                    </a:lnTo>
                    <a:lnTo>
                      <a:pt x="286" y="79"/>
                    </a:lnTo>
                    <a:lnTo>
                      <a:pt x="286" y="71"/>
                    </a:lnTo>
                    <a:lnTo>
                      <a:pt x="287" y="67"/>
                    </a:lnTo>
                    <a:lnTo>
                      <a:pt x="292" y="68"/>
                    </a:lnTo>
                    <a:lnTo>
                      <a:pt x="294" y="67"/>
                    </a:lnTo>
                    <a:lnTo>
                      <a:pt x="296" y="68"/>
                    </a:lnTo>
                    <a:lnTo>
                      <a:pt x="297" y="68"/>
                    </a:lnTo>
                    <a:lnTo>
                      <a:pt x="299" y="62"/>
                    </a:lnTo>
                    <a:lnTo>
                      <a:pt x="303" y="62"/>
                    </a:lnTo>
                    <a:lnTo>
                      <a:pt x="306" y="67"/>
                    </a:lnTo>
                    <a:lnTo>
                      <a:pt x="308" y="68"/>
                    </a:lnTo>
                    <a:lnTo>
                      <a:pt x="311" y="72"/>
                    </a:lnTo>
                    <a:lnTo>
                      <a:pt x="313" y="71"/>
                    </a:lnTo>
                    <a:lnTo>
                      <a:pt x="311" y="62"/>
                    </a:lnTo>
                    <a:lnTo>
                      <a:pt x="310" y="60"/>
                    </a:lnTo>
                    <a:lnTo>
                      <a:pt x="306" y="57"/>
                    </a:lnTo>
                    <a:lnTo>
                      <a:pt x="301" y="53"/>
                    </a:lnTo>
                    <a:lnTo>
                      <a:pt x="301" y="51"/>
                    </a:lnTo>
                    <a:lnTo>
                      <a:pt x="301" y="50"/>
                    </a:lnTo>
                    <a:lnTo>
                      <a:pt x="304" y="48"/>
                    </a:lnTo>
                    <a:lnTo>
                      <a:pt x="308" y="50"/>
                    </a:lnTo>
                    <a:lnTo>
                      <a:pt x="313" y="47"/>
                    </a:lnTo>
                    <a:lnTo>
                      <a:pt x="314" y="48"/>
                    </a:lnTo>
                    <a:lnTo>
                      <a:pt x="317" y="46"/>
                    </a:lnTo>
                    <a:lnTo>
                      <a:pt x="318" y="48"/>
                    </a:lnTo>
                    <a:lnTo>
                      <a:pt x="319" y="48"/>
                    </a:lnTo>
                    <a:lnTo>
                      <a:pt x="321" y="44"/>
                    </a:lnTo>
                    <a:lnTo>
                      <a:pt x="325" y="43"/>
                    </a:lnTo>
                    <a:lnTo>
                      <a:pt x="328" y="44"/>
                    </a:lnTo>
                    <a:lnTo>
                      <a:pt x="329" y="46"/>
                    </a:lnTo>
                    <a:lnTo>
                      <a:pt x="331" y="50"/>
                    </a:lnTo>
                    <a:lnTo>
                      <a:pt x="332" y="57"/>
                    </a:lnTo>
                    <a:lnTo>
                      <a:pt x="335" y="61"/>
                    </a:lnTo>
                    <a:lnTo>
                      <a:pt x="336" y="62"/>
                    </a:lnTo>
                    <a:lnTo>
                      <a:pt x="338" y="64"/>
                    </a:lnTo>
                    <a:lnTo>
                      <a:pt x="338" y="61"/>
                    </a:lnTo>
                    <a:lnTo>
                      <a:pt x="336" y="60"/>
                    </a:lnTo>
                    <a:lnTo>
                      <a:pt x="336" y="57"/>
                    </a:lnTo>
                    <a:lnTo>
                      <a:pt x="338" y="51"/>
                    </a:lnTo>
                    <a:lnTo>
                      <a:pt x="338" y="50"/>
                    </a:lnTo>
                    <a:lnTo>
                      <a:pt x="343" y="41"/>
                    </a:lnTo>
                    <a:lnTo>
                      <a:pt x="347" y="37"/>
                    </a:lnTo>
                    <a:lnTo>
                      <a:pt x="350" y="36"/>
                    </a:lnTo>
                    <a:lnTo>
                      <a:pt x="354" y="27"/>
                    </a:lnTo>
                    <a:lnTo>
                      <a:pt x="356" y="25"/>
                    </a:lnTo>
                    <a:lnTo>
                      <a:pt x="357" y="25"/>
                    </a:lnTo>
                    <a:lnTo>
                      <a:pt x="357" y="22"/>
                    </a:lnTo>
                    <a:lnTo>
                      <a:pt x="354" y="21"/>
                    </a:lnTo>
                    <a:lnTo>
                      <a:pt x="354" y="18"/>
                    </a:lnTo>
                    <a:lnTo>
                      <a:pt x="357" y="14"/>
                    </a:lnTo>
                    <a:lnTo>
                      <a:pt x="361" y="8"/>
                    </a:lnTo>
                    <a:lnTo>
                      <a:pt x="363" y="8"/>
                    </a:lnTo>
                    <a:lnTo>
                      <a:pt x="364" y="9"/>
                    </a:lnTo>
                    <a:lnTo>
                      <a:pt x="368" y="12"/>
                    </a:lnTo>
                    <a:lnTo>
                      <a:pt x="371" y="15"/>
                    </a:lnTo>
                    <a:lnTo>
                      <a:pt x="372" y="16"/>
                    </a:lnTo>
                    <a:lnTo>
                      <a:pt x="374" y="16"/>
                    </a:lnTo>
                    <a:lnTo>
                      <a:pt x="374" y="14"/>
                    </a:lnTo>
                    <a:lnTo>
                      <a:pt x="375" y="14"/>
                    </a:lnTo>
                    <a:lnTo>
                      <a:pt x="378" y="14"/>
                    </a:lnTo>
                    <a:lnTo>
                      <a:pt x="379" y="15"/>
                    </a:lnTo>
                    <a:lnTo>
                      <a:pt x="381" y="15"/>
                    </a:lnTo>
                    <a:lnTo>
                      <a:pt x="381" y="16"/>
                    </a:lnTo>
                    <a:lnTo>
                      <a:pt x="381" y="18"/>
                    </a:lnTo>
                    <a:lnTo>
                      <a:pt x="379" y="21"/>
                    </a:lnTo>
                    <a:lnTo>
                      <a:pt x="375" y="26"/>
                    </a:lnTo>
                    <a:lnTo>
                      <a:pt x="372" y="33"/>
                    </a:lnTo>
                    <a:lnTo>
                      <a:pt x="371" y="36"/>
                    </a:lnTo>
                    <a:lnTo>
                      <a:pt x="370" y="46"/>
                    </a:lnTo>
                    <a:lnTo>
                      <a:pt x="367" y="51"/>
                    </a:lnTo>
                    <a:lnTo>
                      <a:pt x="367" y="55"/>
                    </a:lnTo>
                    <a:lnTo>
                      <a:pt x="368" y="57"/>
                    </a:lnTo>
                    <a:lnTo>
                      <a:pt x="371" y="55"/>
                    </a:lnTo>
                    <a:lnTo>
                      <a:pt x="375" y="50"/>
                    </a:lnTo>
                    <a:lnTo>
                      <a:pt x="375" y="44"/>
                    </a:lnTo>
                    <a:lnTo>
                      <a:pt x="385" y="29"/>
                    </a:lnTo>
                    <a:lnTo>
                      <a:pt x="389" y="21"/>
                    </a:lnTo>
                    <a:lnTo>
                      <a:pt x="395" y="14"/>
                    </a:lnTo>
                    <a:lnTo>
                      <a:pt x="397" y="12"/>
                    </a:lnTo>
                    <a:lnTo>
                      <a:pt x="399" y="16"/>
                    </a:lnTo>
                    <a:lnTo>
                      <a:pt x="397" y="22"/>
                    </a:lnTo>
                    <a:lnTo>
                      <a:pt x="396" y="26"/>
                    </a:lnTo>
                    <a:lnTo>
                      <a:pt x="397" y="29"/>
                    </a:lnTo>
                    <a:lnTo>
                      <a:pt x="397" y="33"/>
                    </a:lnTo>
                    <a:lnTo>
                      <a:pt x="396" y="36"/>
                    </a:lnTo>
                    <a:lnTo>
                      <a:pt x="396" y="39"/>
                    </a:lnTo>
                    <a:lnTo>
                      <a:pt x="396" y="40"/>
                    </a:lnTo>
                    <a:lnTo>
                      <a:pt x="397" y="40"/>
                    </a:lnTo>
                    <a:lnTo>
                      <a:pt x="403" y="34"/>
                    </a:lnTo>
                    <a:lnTo>
                      <a:pt x="404" y="30"/>
                    </a:lnTo>
                    <a:lnTo>
                      <a:pt x="406" y="26"/>
                    </a:lnTo>
                    <a:lnTo>
                      <a:pt x="407" y="22"/>
                    </a:lnTo>
                    <a:lnTo>
                      <a:pt x="409" y="19"/>
                    </a:lnTo>
                    <a:lnTo>
                      <a:pt x="413" y="19"/>
                    </a:lnTo>
                    <a:lnTo>
                      <a:pt x="414" y="18"/>
                    </a:lnTo>
                    <a:lnTo>
                      <a:pt x="409" y="14"/>
                    </a:lnTo>
                    <a:lnTo>
                      <a:pt x="407" y="11"/>
                    </a:lnTo>
                    <a:lnTo>
                      <a:pt x="410" y="8"/>
                    </a:lnTo>
                    <a:lnTo>
                      <a:pt x="414" y="2"/>
                    </a:lnTo>
                    <a:lnTo>
                      <a:pt x="417" y="4"/>
                    </a:lnTo>
                    <a:lnTo>
                      <a:pt x="418" y="5"/>
                    </a:lnTo>
                    <a:lnTo>
                      <a:pt x="424" y="5"/>
                    </a:lnTo>
                    <a:lnTo>
                      <a:pt x="428" y="9"/>
                    </a:lnTo>
                    <a:lnTo>
                      <a:pt x="428" y="15"/>
                    </a:lnTo>
                    <a:lnTo>
                      <a:pt x="428" y="18"/>
                    </a:lnTo>
                    <a:lnTo>
                      <a:pt x="427" y="19"/>
                    </a:lnTo>
                    <a:lnTo>
                      <a:pt x="421" y="23"/>
                    </a:lnTo>
                    <a:lnTo>
                      <a:pt x="420" y="26"/>
                    </a:lnTo>
                    <a:lnTo>
                      <a:pt x="421" y="26"/>
                    </a:lnTo>
                    <a:lnTo>
                      <a:pt x="425" y="25"/>
                    </a:lnTo>
                    <a:lnTo>
                      <a:pt x="427" y="26"/>
                    </a:lnTo>
                    <a:lnTo>
                      <a:pt x="425" y="32"/>
                    </a:lnTo>
                    <a:lnTo>
                      <a:pt x="425" y="39"/>
                    </a:lnTo>
                    <a:lnTo>
                      <a:pt x="425" y="43"/>
                    </a:lnTo>
                    <a:lnTo>
                      <a:pt x="425" y="47"/>
                    </a:lnTo>
                    <a:lnTo>
                      <a:pt x="425" y="50"/>
                    </a:lnTo>
                    <a:lnTo>
                      <a:pt x="427" y="41"/>
                    </a:lnTo>
                    <a:lnTo>
                      <a:pt x="427" y="39"/>
                    </a:lnTo>
                    <a:lnTo>
                      <a:pt x="430" y="36"/>
                    </a:lnTo>
                    <a:lnTo>
                      <a:pt x="431" y="29"/>
                    </a:lnTo>
                    <a:lnTo>
                      <a:pt x="432" y="22"/>
                    </a:lnTo>
                    <a:lnTo>
                      <a:pt x="435" y="16"/>
                    </a:lnTo>
                    <a:lnTo>
                      <a:pt x="436" y="16"/>
                    </a:lnTo>
                    <a:lnTo>
                      <a:pt x="442" y="16"/>
                    </a:lnTo>
                    <a:lnTo>
                      <a:pt x="443" y="18"/>
                    </a:lnTo>
                    <a:lnTo>
                      <a:pt x="446" y="22"/>
                    </a:lnTo>
                    <a:lnTo>
                      <a:pt x="448" y="23"/>
                    </a:lnTo>
                    <a:lnTo>
                      <a:pt x="452" y="25"/>
                    </a:lnTo>
                    <a:lnTo>
                      <a:pt x="453" y="26"/>
                    </a:lnTo>
                    <a:lnTo>
                      <a:pt x="453" y="27"/>
                    </a:lnTo>
                    <a:lnTo>
                      <a:pt x="455" y="27"/>
                    </a:lnTo>
                    <a:lnTo>
                      <a:pt x="457" y="25"/>
                    </a:lnTo>
                    <a:lnTo>
                      <a:pt x="459" y="25"/>
                    </a:lnTo>
                    <a:lnTo>
                      <a:pt x="463" y="29"/>
                    </a:lnTo>
                    <a:lnTo>
                      <a:pt x="462" y="32"/>
                    </a:lnTo>
                    <a:lnTo>
                      <a:pt x="462" y="33"/>
                    </a:lnTo>
                    <a:lnTo>
                      <a:pt x="466" y="33"/>
                    </a:lnTo>
                    <a:lnTo>
                      <a:pt x="469" y="34"/>
                    </a:lnTo>
                    <a:lnTo>
                      <a:pt x="476" y="41"/>
                    </a:lnTo>
                    <a:lnTo>
                      <a:pt x="476" y="44"/>
                    </a:lnTo>
                    <a:lnTo>
                      <a:pt x="476" y="48"/>
                    </a:lnTo>
                    <a:lnTo>
                      <a:pt x="467" y="53"/>
                    </a:lnTo>
                    <a:lnTo>
                      <a:pt x="463" y="55"/>
                    </a:lnTo>
                    <a:lnTo>
                      <a:pt x="456" y="57"/>
                    </a:lnTo>
                    <a:lnTo>
                      <a:pt x="436" y="55"/>
                    </a:lnTo>
                    <a:lnTo>
                      <a:pt x="436" y="58"/>
                    </a:lnTo>
                    <a:lnTo>
                      <a:pt x="450" y="64"/>
                    </a:lnTo>
                    <a:lnTo>
                      <a:pt x="452" y="65"/>
                    </a:lnTo>
                    <a:lnTo>
                      <a:pt x="452" y="69"/>
                    </a:lnTo>
                    <a:lnTo>
                      <a:pt x="452" y="72"/>
                    </a:lnTo>
                    <a:lnTo>
                      <a:pt x="452" y="75"/>
                    </a:lnTo>
                    <a:lnTo>
                      <a:pt x="452" y="76"/>
                    </a:lnTo>
                    <a:lnTo>
                      <a:pt x="455" y="76"/>
                    </a:lnTo>
                    <a:lnTo>
                      <a:pt x="457" y="76"/>
                    </a:lnTo>
                    <a:lnTo>
                      <a:pt x="460" y="78"/>
                    </a:lnTo>
                    <a:lnTo>
                      <a:pt x="460" y="76"/>
                    </a:lnTo>
                    <a:lnTo>
                      <a:pt x="462" y="71"/>
                    </a:lnTo>
                    <a:lnTo>
                      <a:pt x="463" y="69"/>
                    </a:lnTo>
                    <a:lnTo>
                      <a:pt x="464" y="71"/>
                    </a:lnTo>
                    <a:lnTo>
                      <a:pt x="466" y="76"/>
                    </a:lnTo>
                    <a:lnTo>
                      <a:pt x="466" y="78"/>
                    </a:lnTo>
                    <a:lnTo>
                      <a:pt x="467" y="73"/>
                    </a:lnTo>
                    <a:lnTo>
                      <a:pt x="469" y="73"/>
                    </a:lnTo>
                    <a:lnTo>
                      <a:pt x="471" y="73"/>
                    </a:lnTo>
                    <a:lnTo>
                      <a:pt x="474" y="73"/>
                    </a:lnTo>
                    <a:close/>
                    <a:moveTo>
                      <a:pt x="339" y="18"/>
                    </a:moveTo>
                    <a:lnTo>
                      <a:pt x="339" y="21"/>
                    </a:lnTo>
                    <a:lnTo>
                      <a:pt x="338" y="22"/>
                    </a:lnTo>
                    <a:lnTo>
                      <a:pt x="336" y="23"/>
                    </a:lnTo>
                    <a:lnTo>
                      <a:pt x="332" y="30"/>
                    </a:lnTo>
                    <a:lnTo>
                      <a:pt x="329" y="32"/>
                    </a:lnTo>
                    <a:lnTo>
                      <a:pt x="329" y="33"/>
                    </a:lnTo>
                    <a:lnTo>
                      <a:pt x="328" y="33"/>
                    </a:lnTo>
                    <a:lnTo>
                      <a:pt x="325" y="33"/>
                    </a:lnTo>
                    <a:lnTo>
                      <a:pt x="324" y="34"/>
                    </a:lnTo>
                    <a:lnTo>
                      <a:pt x="322" y="34"/>
                    </a:lnTo>
                    <a:lnTo>
                      <a:pt x="321" y="36"/>
                    </a:lnTo>
                    <a:lnTo>
                      <a:pt x="319" y="34"/>
                    </a:lnTo>
                    <a:lnTo>
                      <a:pt x="315" y="32"/>
                    </a:lnTo>
                    <a:lnTo>
                      <a:pt x="314" y="29"/>
                    </a:lnTo>
                    <a:lnTo>
                      <a:pt x="313" y="27"/>
                    </a:lnTo>
                    <a:lnTo>
                      <a:pt x="315" y="27"/>
                    </a:lnTo>
                    <a:lnTo>
                      <a:pt x="317" y="26"/>
                    </a:lnTo>
                    <a:lnTo>
                      <a:pt x="319" y="27"/>
                    </a:lnTo>
                    <a:lnTo>
                      <a:pt x="321" y="25"/>
                    </a:lnTo>
                    <a:lnTo>
                      <a:pt x="324" y="25"/>
                    </a:lnTo>
                    <a:lnTo>
                      <a:pt x="328" y="23"/>
                    </a:lnTo>
                    <a:lnTo>
                      <a:pt x="331" y="25"/>
                    </a:lnTo>
                    <a:lnTo>
                      <a:pt x="335" y="19"/>
                    </a:lnTo>
                    <a:lnTo>
                      <a:pt x="336" y="19"/>
                    </a:lnTo>
                    <a:lnTo>
                      <a:pt x="338" y="16"/>
                    </a:lnTo>
                    <a:lnTo>
                      <a:pt x="339" y="18"/>
                    </a:lnTo>
                    <a:close/>
                    <a:moveTo>
                      <a:pt x="349" y="32"/>
                    </a:moveTo>
                    <a:lnTo>
                      <a:pt x="346" y="34"/>
                    </a:lnTo>
                    <a:lnTo>
                      <a:pt x="345" y="32"/>
                    </a:lnTo>
                    <a:lnTo>
                      <a:pt x="343" y="30"/>
                    </a:lnTo>
                    <a:lnTo>
                      <a:pt x="343" y="26"/>
                    </a:lnTo>
                    <a:lnTo>
                      <a:pt x="343" y="23"/>
                    </a:lnTo>
                    <a:lnTo>
                      <a:pt x="345" y="22"/>
                    </a:lnTo>
                    <a:lnTo>
                      <a:pt x="346" y="23"/>
                    </a:lnTo>
                    <a:lnTo>
                      <a:pt x="346" y="25"/>
                    </a:lnTo>
                    <a:lnTo>
                      <a:pt x="349" y="25"/>
                    </a:lnTo>
                    <a:lnTo>
                      <a:pt x="350" y="27"/>
                    </a:lnTo>
                    <a:lnTo>
                      <a:pt x="349" y="32"/>
                    </a:lnTo>
                    <a:close/>
                    <a:moveTo>
                      <a:pt x="342" y="33"/>
                    </a:moveTo>
                    <a:lnTo>
                      <a:pt x="342" y="36"/>
                    </a:lnTo>
                    <a:lnTo>
                      <a:pt x="343" y="37"/>
                    </a:lnTo>
                    <a:lnTo>
                      <a:pt x="340" y="40"/>
                    </a:lnTo>
                    <a:lnTo>
                      <a:pt x="338" y="44"/>
                    </a:lnTo>
                    <a:lnTo>
                      <a:pt x="338" y="46"/>
                    </a:lnTo>
                    <a:lnTo>
                      <a:pt x="336" y="47"/>
                    </a:lnTo>
                    <a:lnTo>
                      <a:pt x="333" y="47"/>
                    </a:lnTo>
                    <a:lnTo>
                      <a:pt x="333" y="47"/>
                    </a:lnTo>
                    <a:lnTo>
                      <a:pt x="333" y="43"/>
                    </a:lnTo>
                    <a:lnTo>
                      <a:pt x="332" y="43"/>
                    </a:lnTo>
                    <a:lnTo>
                      <a:pt x="331" y="44"/>
                    </a:lnTo>
                    <a:lnTo>
                      <a:pt x="329" y="41"/>
                    </a:lnTo>
                    <a:lnTo>
                      <a:pt x="329" y="40"/>
                    </a:lnTo>
                    <a:lnTo>
                      <a:pt x="329" y="39"/>
                    </a:lnTo>
                    <a:lnTo>
                      <a:pt x="331" y="36"/>
                    </a:lnTo>
                    <a:lnTo>
                      <a:pt x="333" y="34"/>
                    </a:lnTo>
                    <a:lnTo>
                      <a:pt x="335" y="36"/>
                    </a:lnTo>
                    <a:lnTo>
                      <a:pt x="340" y="29"/>
                    </a:lnTo>
                    <a:lnTo>
                      <a:pt x="342" y="30"/>
                    </a:lnTo>
                    <a:lnTo>
                      <a:pt x="342" y="33"/>
                    </a:lnTo>
                    <a:close/>
                    <a:moveTo>
                      <a:pt x="272" y="51"/>
                    </a:moveTo>
                    <a:lnTo>
                      <a:pt x="274" y="51"/>
                    </a:lnTo>
                    <a:lnTo>
                      <a:pt x="274" y="51"/>
                    </a:lnTo>
                    <a:lnTo>
                      <a:pt x="275" y="51"/>
                    </a:lnTo>
                    <a:lnTo>
                      <a:pt x="276" y="54"/>
                    </a:lnTo>
                    <a:lnTo>
                      <a:pt x="278" y="55"/>
                    </a:lnTo>
                    <a:lnTo>
                      <a:pt x="278" y="57"/>
                    </a:lnTo>
                    <a:lnTo>
                      <a:pt x="276" y="58"/>
                    </a:lnTo>
                    <a:lnTo>
                      <a:pt x="275" y="60"/>
                    </a:lnTo>
                    <a:lnTo>
                      <a:pt x="272" y="58"/>
                    </a:lnTo>
                    <a:lnTo>
                      <a:pt x="272" y="57"/>
                    </a:lnTo>
                    <a:lnTo>
                      <a:pt x="271" y="54"/>
                    </a:lnTo>
                    <a:lnTo>
                      <a:pt x="269" y="51"/>
                    </a:lnTo>
                    <a:lnTo>
                      <a:pt x="269" y="48"/>
                    </a:lnTo>
                    <a:lnTo>
                      <a:pt x="271" y="48"/>
                    </a:lnTo>
                    <a:lnTo>
                      <a:pt x="272" y="51"/>
                    </a:lnTo>
                    <a:close/>
                    <a:moveTo>
                      <a:pt x="262" y="60"/>
                    </a:moveTo>
                    <a:lnTo>
                      <a:pt x="265" y="62"/>
                    </a:lnTo>
                    <a:lnTo>
                      <a:pt x="267" y="62"/>
                    </a:lnTo>
                    <a:lnTo>
                      <a:pt x="267" y="61"/>
                    </a:lnTo>
                    <a:lnTo>
                      <a:pt x="268" y="60"/>
                    </a:lnTo>
                    <a:lnTo>
                      <a:pt x="269" y="61"/>
                    </a:lnTo>
                    <a:lnTo>
                      <a:pt x="269" y="64"/>
                    </a:lnTo>
                    <a:lnTo>
                      <a:pt x="267" y="68"/>
                    </a:lnTo>
                    <a:lnTo>
                      <a:pt x="264" y="72"/>
                    </a:lnTo>
                    <a:lnTo>
                      <a:pt x="262" y="73"/>
                    </a:lnTo>
                    <a:lnTo>
                      <a:pt x="261" y="72"/>
                    </a:lnTo>
                    <a:lnTo>
                      <a:pt x="258" y="75"/>
                    </a:lnTo>
                    <a:lnTo>
                      <a:pt x="257" y="78"/>
                    </a:lnTo>
                    <a:lnTo>
                      <a:pt x="255" y="82"/>
                    </a:lnTo>
                    <a:lnTo>
                      <a:pt x="254" y="83"/>
                    </a:lnTo>
                    <a:lnTo>
                      <a:pt x="254" y="85"/>
                    </a:lnTo>
                    <a:lnTo>
                      <a:pt x="247" y="86"/>
                    </a:lnTo>
                    <a:lnTo>
                      <a:pt x="246" y="87"/>
                    </a:lnTo>
                    <a:lnTo>
                      <a:pt x="243" y="86"/>
                    </a:lnTo>
                    <a:lnTo>
                      <a:pt x="241" y="83"/>
                    </a:lnTo>
                    <a:lnTo>
                      <a:pt x="241" y="82"/>
                    </a:lnTo>
                    <a:lnTo>
                      <a:pt x="244" y="82"/>
                    </a:lnTo>
                    <a:lnTo>
                      <a:pt x="244" y="79"/>
                    </a:lnTo>
                    <a:lnTo>
                      <a:pt x="246" y="78"/>
                    </a:lnTo>
                    <a:lnTo>
                      <a:pt x="246" y="78"/>
                    </a:lnTo>
                    <a:lnTo>
                      <a:pt x="247" y="75"/>
                    </a:lnTo>
                    <a:lnTo>
                      <a:pt x="247" y="73"/>
                    </a:lnTo>
                    <a:lnTo>
                      <a:pt x="250" y="75"/>
                    </a:lnTo>
                    <a:lnTo>
                      <a:pt x="251" y="73"/>
                    </a:lnTo>
                    <a:lnTo>
                      <a:pt x="251" y="72"/>
                    </a:lnTo>
                    <a:lnTo>
                      <a:pt x="253" y="73"/>
                    </a:lnTo>
                    <a:lnTo>
                      <a:pt x="253" y="72"/>
                    </a:lnTo>
                    <a:lnTo>
                      <a:pt x="253" y="69"/>
                    </a:lnTo>
                    <a:lnTo>
                      <a:pt x="253" y="68"/>
                    </a:lnTo>
                    <a:lnTo>
                      <a:pt x="255" y="65"/>
                    </a:lnTo>
                    <a:lnTo>
                      <a:pt x="257" y="62"/>
                    </a:lnTo>
                    <a:lnTo>
                      <a:pt x="258" y="61"/>
                    </a:lnTo>
                    <a:lnTo>
                      <a:pt x="260" y="61"/>
                    </a:lnTo>
                    <a:lnTo>
                      <a:pt x="260" y="58"/>
                    </a:lnTo>
                    <a:lnTo>
                      <a:pt x="260" y="55"/>
                    </a:lnTo>
                    <a:lnTo>
                      <a:pt x="260" y="54"/>
                    </a:lnTo>
                    <a:lnTo>
                      <a:pt x="261" y="50"/>
                    </a:lnTo>
                    <a:lnTo>
                      <a:pt x="262" y="50"/>
                    </a:lnTo>
                    <a:lnTo>
                      <a:pt x="262" y="53"/>
                    </a:lnTo>
                    <a:lnTo>
                      <a:pt x="262" y="60"/>
                    </a:lnTo>
                    <a:close/>
                    <a:moveTo>
                      <a:pt x="290" y="58"/>
                    </a:moveTo>
                    <a:lnTo>
                      <a:pt x="290" y="60"/>
                    </a:lnTo>
                    <a:lnTo>
                      <a:pt x="287" y="60"/>
                    </a:lnTo>
                    <a:lnTo>
                      <a:pt x="287" y="58"/>
                    </a:lnTo>
                    <a:lnTo>
                      <a:pt x="286" y="58"/>
                    </a:lnTo>
                    <a:lnTo>
                      <a:pt x="285" y="58"/>
                    </a:lnTo>
                    <a:lnTo>
                      <a:pt x="283" y="57"/>
                    </a:lnTo>
                    <a:lnTo>
                      <a:pt x="283" y="54"/>
                    </a:lnTo>
                    <a:lnTo>
                      <a:pt x="286" y="51"/>
                    </a:lnTo>
                    <a:lnTo>
                      <a:pt x="289" y="50"/>
                    </a:lnTo>
                    <a:lnTo>
                      <a:pt x="290" y="51"/>
                    </a:lnTo>
                    <a:lnTo>
                      <a:pt x="292" y="51"/>
                    </a:lnTo>
                    <a:lnTo>
                      <a:pt x="290" y="58"/>
                    </a:lnTo>
                    <a:close/>
                    <a:moveTo>
                      <a:pt x="457" y="73"/>
                    </a:moveTo>
                    <a:lnTo>
                      <a:pt x="453" y="75"/>
                    </a:lnTo>
                    <a:lnTo>
                      <a:pt x="453" y="73"/>
                    </a:lnTo>
                    <a:lnTo>
                      <a:pt x="455" y="72"/>
                    </a:lnTo>
                    <a:lnTo>
                      <a:pt x="455" y="68"/>
                    </a:lnTo>
                    <a:lnTo>
                      <a:pt x="456" y="68"/>
                    </a:lnTo>
                    <a:lnTo>
                      <a:pt x="457" y="69"/>
                    </a:lnTo>
                    <a:lnTo>
                      <a:pt x="459" y="71"/>
                    </a:lnTo>
                    <a:lnTo>
                      <a:pt x="457" y="73"/>
                    </a:lnTo>
                    <a:close/>
                    <a:moveTo>
                      <a:pt x="232" y="83"/>
                    </a:moveTo>
                    <a:lnTo>
                      <a:pt x="233" y="87"/>
                    </a:lnTo>
                    <a:lnTo>
                      <a:pt x="235" y="86"/>
                    </a:lnTo>
                    <a:lnTo>
                      <a:pt x="236" y="86"/>
                    </a:lnTo>
                    <a:lnTo>
                      <a:pt x="237" y="86"/>
                    </a:lnTo>
                    <a:lnTo>
                      <a:pt x="239" y="89"/>
                    </a:lnTo>
                    <a:lnTo>
                      <a:pt x="240" y="89"/>
                    </a:lnTo>
                    <a:lnTo>
                      <a:pt x="241" y="92"/>
                    </a:lnTo>
                    <a:lnTo>
                      <a:pt x="241" y="94"/>
                    </a:lnTo>
                    <a:lnTo>
                      <a:pt x="240" y="97"/>
                    </a:lnTo>
                    <a:lnTo>
                      <a:pt x="239" y="97"/>
                    </a:lnTo>
                    <a:lnTo>
                      <a:pt x="239" y="100"/>
                    </a:lnTo>
                    <a:lnTo>
                      <a:pt x="239" y="104"/>
                    </a:lnTo>
                    <a:lnTo>
                      <a:pt x="236" y="106"/>
                    </a:lnTo>
                    <a:lnTo>
                      <a:pt x="232" y="107"/>
                    </a:lnTo>
                    <a:lnTo>
                      <a:pt x="230" y="104"/>
                    </a:lnTo>
                    <a:lnTo>
                      <a:pt x="228" y="108"/>
                    </a:lnTo>
                    <a:lnTo>
                      <a:pt x="225" y="112"/>
                    </a:lnTo>
                    <a:lnTo>
                      <a:pt x="223" y="114"/>
                    </a:lnTo>
                    <a:lnTo>
                      <a:pt x="223" y="112"/>
                    </a:lnTo>
                    <a:lnTo>
                      <a:pt x="221" y="111"/>
                    </a:lnTo>
                    <a:lnTo>
                      <a:pt x="219" y="111"/>
                    </a:lnTo>
                    <a:lnTo>
                      <a:pt x="219" y="110"/>
                    </a:lnTo>
                    <a:lnTo>
                      <a:pt x="219" y="108"/>
                    </a:lnTo>
                    <a:lnTo>
                      <a:pt x="222" y="107"/>
                    </a:lnTo>
                    <a:lnTo>
                      <a:pt x="222" y="104"/>
                    </a:lnTo>
                    <a:lnTo>
                      <a:pt x="222" y="100"/>
                    </a:lnTo>
                    <a:lnTo>
                      <a:pt x="222" y="97"/>
                    </a:lnTo>
                    <a:lnTo>
                      <a:pt x="222" y="96"/>
                    </a:lnTo>
                    <a:lnTo>
                      <a:pt x="223" y="94"/>
                    </a:lnTo>
                    <a:lnTo>
                      <a:pt x="229" y="94"/>
                    </a:lnTo>
                    <a:lnTo>
                      <a:pt x="229" y="93"/>
                    </a:lnTo>
                    <a:lnTo>
                      <a:pt x="229" y="92"/>
                    </a:lnTo>
                    <a:lnTo>
                      <a:pt x="226" y="90"/>
                    </a:lnTo>
                    <a:lnTo>
                      <a:pt x="226" y="89"/>
                    </a:lnTo>
                    <a:lnTo>
                      <a:pt x="229" y="87"/>
                    </a:lnTo>
                    <a:lnTo>
                      <a:pt x="230" y="87"/>
                    </a:lnTo>
                    <a:lnTo>
                      <a:pt x="230" y="85"/>
                    </a:lnTo>
                    <a:lnTo>
                      <a:pt x="230" y="85"/>
                    </a:lnTo>
                    <a:lnTo>
                      <a:pt x="232" y="83"/>
                    </a:lnTo>
                    <a:close/>
                    <a:moveTo>
                      <a:pt x="200" y="136"/>
                    </a:moveTo>
                    <a:lnTo>
                      <a:pt x="200" y="136"/>
                    </a:lnTo>
                    <a:lnTo>
                      <a:pt x="202" y="132"/>
                    </a:lnTo>
                    <a:lnTo>
                      <a:pt x="205" y="131"/>
                    </a:lnTo>
                    <a:lnTo>
                      <a:pt x="205" y="129"/>
                    </a:lnTo>
                    <a:lnTo>
                      <a:pt x="207" y="128"/>
                    </a:lnTo>
                    <a:lnTo>
                      <a:pt x="207" y="125"/>
                    </a:lnTo>
                    <a:lnTo>
                      <a:pt x="207" y="122"/>
                    </a:lnTo>
                    <a:lnTo>
                      <a:pt x="208" y="122"/>
                    </a:lnTo>
                    <a:lnTo>
                      <a:pt x="209" y="121"/>
                    </a:lnTo>
                    <a:lnTo>
                      <a:pt x="209" y="121"/>
                    </a:lnTo>
                    <a:lnTo>
                      <a:pt x="211" y="122"/>
                    </a:lnTo>
                    <a:lnTo>
                      <a:pt x="212" y="125"/>
                    </a:lnTo>
                    <a:lnTo>
                      <a:pt x="214" y="129"/>
                    </a:lnTo>
                    <a:lnTo>
                      <a:pt x="214" y="133"/>
                    </a:lnTo>
                    <a:lnTo>
                      <a:pt x="209" y="136"/>
                    </a:lnTo>
                    <a:lnTo>
                      <a:pt x="207" y="138"/>
                    </a:lnTo>
                    <a:lnTo>
                      <a:pt x="205" y="142"/>
                    </a:lnTo>
                    <a:lnTo>
                      <a:pt x="204" y="145"/>
                    </a:lnTo>
                    <a:lnTo>
                      <a:pt x="202" y="145"/>
                    </a:lnTo>
                    <a:lnTo>
                      <a:pt x="201" y="145"/>
                    </a:lnTo>
                    <a:lnTo>
                      <a:pt x="201" y="145"/>
                    </a:lnTo>
                    <a:lnTo>
                      <a:pt x="200" y="145"/>
                    </a:lnTo>
                    <a:lnTo>
                      <a:pt x="198" y="146"/>
                    </a:lnTo>
                    <a:lnTo>
                      <a:pt x="194" y="149"/>
                    </a:lnTo>
                    <a:lnTo>
                      <a:pt x="191" y="149"/>
                    </a:lnTo>
                    <a:lnTo>
                      <a:pt x="191" y="146"/>
                    </a:lnTo>
                    <a:lnTo>
                      <a:pt x="191" y="146"/>
                    </a:lnTo>
                    <a:lnTo>
                      <a:pt x="189" y="149"/>
                    </a:lnTo>
                    <a:lnTo>
                      <a:pt x="187" y="150"/>
                    </a:lnTo>
                    <a:lnTo>
                      <a:pt x="186" y="150"/>
                    </a:lnTo>
                    <a:lnTo>
                      <a:pt x="184" y="149"/>
                    </a:lnTo>
                    <a:lnTo>
                      <a:pt x="179" y="154"/>
                    </a:lnTo>
                    <a:lnTo>
                      <a:pt x="173" y="156"/>
                    </a:lnTo>
                    <a:lnTo>
                      <a:pt x="172" y="154"/>
                    </a:lnTo>
                    <a:lnTo>
                      <a:pt x="172" y="152"/>
                    </a:lnTo>
                    <a:lnTo>
                      <a:pt x="176" y="147"/>
                    </a:lnTo>
                    <a:lnTo>
                      <a:pt x="179" y="145"/>
                    </a:lnTo>
                    <a:lnTo>
                      <a:pt x="187" y="142"/>
                    </a:lnTo>
                    <a:lnTo>
                      <a:pt x="193" y="133"/>
                    </a:lnTo>
                    <a:lnTo>
                      <a:pt x="194" y="124"/>
                    </a:lnTo>
                    <a:lnTo>
                      <a:pt x="196" y="121"/>
                    </a:lnTo>
                    <a:lnTo>
                      <a:pt x="196" y="119"/>
                    </a:lnTo>
                    <a:lnTo>
                      <a:pt x="194" y="118"/>
                    </a:lnTo>
                    <a:lnTo>
                      <a:pt x="194" y="115"/>
                    </a:lnTo>
                    <a:lnTo>
                      <a:pt x="194" y="112"/>
                    </a:lnTo>
                    <a:lnTo>
                      <a:pt x="197" y="108"/>
                    </a:lnTo>
                    <a:lnTo>
                      <a:pt x="200" y="106"/>
                    </a:lnTo>
                    <a:lnTo>
                      <a:pt x="202" y="100"/>
                    </a:lnTo>
                    <a:lnTo>
                      <a:pt x="202" y="99"/>
                    </a:lnTo>
                    <a:lnTo>
                      <a:pt x="205" y="99"/>
                    </a:lnTo>
                    <a:lnTo>
                      <a:pt x="207" y="100"/>
                    </a:lnTo>
                    <a:lnTo>
                      <a:pt x="205" y="103"/>
                    </a:lnTo>
                    <a:lnTo>
                      <a:pt x="204" y="108"/>
                    </a:lnTo>
                    <a:lnTo>
                      <a:pt x="200" y="114"/>
                    </a:lnTo>
                    <a:lnTo>
                      <a:pt x="201" y="117"/>
                    </a:lnTo>
                    <a:lnTo>
                      <a:pt x="202" y="119"/>
                    </a:lnTo>
                    <a:lnTo>
                      <a:pt x="202" y="124"/>
                    </a:lnTo>
                    <a:lnTo>
                      <a:pt x="202" y="128"/>
                    </a:lnTo>
                    <a:lnTo>
                      <a:pt x="200" y="133"/>
                    </a:lnTo>
                    <a:lnTo>
                      <a:pt x="200" y="136"/>
                    </a:lnTo>
                    <a:close/>
                    <a:moveTo>
                      <a:pt x="190" y="117"/>
                    </a:moveTo>
                    <a:lnTo>
                      <a:pt x="191" y="122"/>
                    </a:lnTo>
                    <a:lnTo>
                      <a:pt x="193" y="125"/>
                    </a:lnTo>
                    <a:lnTo>
                      <a:pt x="191" y="131"/>
                    </a:lnTo>
                    <a:lnTo>
                      <a:pt x="190" y="133"/>
                    </a:lnTo>
                    <a:lnTo>
                      <a:pt x="186" y="135"/>
                    </a:lnTo>
                    <a:lnTo>
                      <a:pt x="183" y="133"/>
                    </a:lnTo>
                    <a:lnTo>
                      <a:pt x="182" y="132"/>
                    </a:lnTo>
                    <a:lnTo>
                      <a:pt x="182" y="131"/>
                    </a:lnTo>
                    <a:lnTo>
                      <a:pt x="182" y="131"/>
                    </a:lnTo>
                    <a:lnTo>
                      <a:pt x="179" y="132"/>
                    </a:lnTo>
                    <a:lnTo>
                      <a:pt x="177" y="133"/>
                    </a:lnTo>
                    <a:lnTo>
                      <a:pt x="175" y="132"/>
                    </a:lnTo>
                    <a:lnTo>
                      <a:pt x="175" y="129"/>
                    </a:lnTo>
                    <a:lnTo>
                      <a:pt x="176" y="126"/>
                    </a:lnTo>
                    <a:lnTo>
                      <a:pt x="177" y="124"/>
                    </a:lnTo>
                    <a:lnTo>
                      <a:pt x="180" y="124"/>
                    </a:lnTo>
                    <a:lnTo>
                      <a:pt x="180" y="125"/>
                    </a:lnTo>
                    <a:lnTo>
                      <a:pt x="182" y="125"/>
                    </a:lnTo>
                    <a:lnTo>
                      <a:pt x="183" y="122"/>
                    </a:lnTo>
                    <a:lnTo>
                      <a:pt x="183" y="119"/>
                    </a:lnTo>
                    <a:lnTo>
                      <a:pt x="183" y="119"/>
                    </a:lnTo>
                    <a:lnTo>
                      <a:pt x="186" y="119"/>
                    </a:lnTo>
                    <a:lnTo>
                      <a:pt x="186" y="114"/>
                    </a:lnTo>
                    <a:lnTo>
                      <a:pt x="187" y="114"/>
                    </a:lnTo>
                    <a:lnTo>
                      <a:pt x="189" y="114"/>
                    </a:lnTo>
                    <a:lnTo>
                      <a:pt x="189" y="115"/>
                    </a:lnTo>
                    <a:lnTo>
                      <a:pt x="190" y="117"/>
                    </a:lnTo>
                    <a:close/>
                    <a:moveTo>
                      <a:pt x="165" y="152"/>
                    </a:moveTo>
                    <a:lnTo>
                      <a:pt x="166" y="152"/>
                    </a:lnTo>
                    <a:lnTo>
                      <a:pt x="169" y="152"/>
                    </a:lnTo>
                    <a:lnTo>
                      <a:pt x="169" y="152"/>
                    </a:lnTo>
                    <a:lnTo>
                      <a:pt x="169" y="153"/>
                    </a:lnTo>
                    <a:lnTo>
                      <a:pt x="168" y="154"/>
                    </a:lnTo>
                    <a:lnTo>
                      <a:pt x="165" y="156"/>
                    </a:lnTo>
                    <a:lnTo>
                      <a:pt x="165" y="158"/>
                    </a:lnTo>
                    <a:lnTo>
                      <a:pt x="163" y="158"/>
                    </a:lnTo>
                    <a:lnTo>
                      <a:pt x="161" y="158"/>
                    </a:lnTo>
                    <a:lnTo>
                      <a:pt x="159" y="160"/>
                    </a:lnTo>
                    <a:lnTo>
                      <a:pt x="158" y="161"/>
                    </a:lnTo>
                    <a:lnTo>
                      <a:pt x="156" y="160"/>
                    </a:lnTo>
                    <a:lnTo>
                      <a:pt x="156" y="161"/>
                    </a:lnTo>
                    <a:lnTo>
                      <a:pt x="156" y="163"/>
                    </a:lnTo>
                    <a:lnTo>
                      <a:pt x="155" y="164"/>
                    </a:lnTo>
                    <a:lnTo>
                      <a:pt x="154" y="164"/>
                    </a:lnTo>
                    <a:lnTo>
                      <a:pt x="152" y="160"/>
                    </a:lnTo>
                    <a:lnTo>
                      <a:pt x="154" y="158"/>
                    </a:lnTo>
                    <a:lnTo>
                      <a:pt x="155" y="156"/>
                    </a:lnTo>
                    <a:lnTo>
                      <a:pt x="156" y="156"/>
                    </a:lnTo>
                    <a:lnTo>
                      <a:pt x="156" y="156"/>
                    </a:lnTo>
                    <a:lnTo>
                      <a:pt x="159" y="152"/>
                    </a:lnTo>
                    <a:lnTo>
                      <a:pt x="162" y="150"/>
                    </a:lnTo>
                    <a:lnTo>
                      <a:pt x="163" y="150"/>
                    </a:lnTo>
                    <a:lnTo>
                      <a:pt x="165" y="152"/>
                    </a:lnTo>
                    <a:close/>
                    <a:moveTo>
                      <a:pt x="148" y="170"/>
                    </a:moveTo>
                    <a:lnTo>
                      <a:pt x="147" y="172"/>
                    </a:lnTo>
                    <a:lnTo>
                      <a:pt x="147" y="168"/>
                    </a:lnTo>
                    <a:lnTo>
                      <a:pt x="148" y="163"/>
                    </a:lnTo>
                    <a:lnTo>
                      <a:pt x="151" y="160"/>
                    </a:lnTo>
                    <a:lnTo>
                      <a:pt x="151" y="161"/>
                    </a:lnTo>
                    <a:lnTo>
                      <a:pt x="151" y="164"/>
                    </a:lnTo>
                    <a:lnTo>
                      <a:pt x="151" y="165"/>
                    </a:lnTo>
                    <a:lnTo>
                      <a:pt x="151" y="167"/>
                    </a:lnTo>
                    <a:lnTo>
                      <a:pt x="148" y="170"/>
                    </a:lnTo>
                    <a:close/>
                    <a:moveTo>
                      <a:pt x="138" y="255"/>
                    </a:moveTo>
                    <a:lnTo>
                      <a:pt x="137" y="255"/>
                    </a:lnTo>
                    <a:lnTo>
                      <a:pt x="137" y="253"/>
                    </a:lnTo>
                    <a:lnTo>
                      <a:pt x="138" y="252"/>
                    </a:lnTo>
                    <a:lnTo>
                      <a:pt x="140" y="250"/>
                    </a:lnTo>
                    <a:lnTo>
                      <a:pt x="140" y="249"/>
                    </a:lnTo>
                    <a:lnTo>
                      <a:pt x="141" y="248"/>
                    </a:lnTo>
                    <a:lnTo>
                      <a:pt x="143" y="249"/>
                    </a:lnTo>
                    <a:lnTo>
                      <a:pt x="143" y="252"/>
                    </a:lnTo>
                    <a:lnTo>
                      <a:pt x="141" y="253"/>
                    </a:lnTo>
                    <a:lnTo>
                      <a:pt x="138" y="255"/>
                    </a:lnTo>
                    <a:close/>
                    <a:moveTo>
                      <a:pt x="140" y="262"/>
                    </a:moveTo>
                    <a:lnTo>
                      <a:pt x="138" y="262"/>
                    </a:lnTo>
                    <a:lnTo>
                      <a:pt x="138" y="260"/>
                    </a:lnTo>
                    <a:lnTo>
                      <a:pt x="140" y="257"/>
                    </a:lnTo>
                    <a:lnTo>
                      <a:pt x="141" y="257"/>
                    </a:lnTo>
                    <a:lnTo>
                      <a:pt x="143" y="256"/>
                    </a:lnTo>
                    <a:lnTo>
                      <a:pt x="145" y="256"/>
                    </a:lnTo>
                    <a:lnTo>
                      <a:pt x="145" y="257"/>
                    </a:lnTo>
                    <a:lnTo>
                      <a:pt x="144" y="259"/>
                    </a:lnTo>
                    <a:lnTo>
                      <a:pt x="140" y="262"/>
                    </a:lnTo>
                    <a:close/>
                    <a:moveTo>
                      <a:pt x="130" y="273"/>
                    </a:moveTo>
                    <a:lnTo>
                      <a:pt x="130" y="274"/>
                    </a:lnTo>
                    <a:lnTo>
                      <a:pt x="127" y="274"/>
                    </a:lnTo>
                    <a:lnTo>
                      <a:pt x="127" y="273"/>
                    </a:lnTo>
                    <a:lnTo>
                      <a:pt x="127" y="271"/>
                    </a:lnTo>
                    <a:lnTo>
                      <a:pt x="129" y="270"/>
                    </a:lnTo>
                    <a:lnTo>
                      <a:pt x="130" y="270"/>
                    </a:lnTo>
                    <a:lnTo>
                      <a:pt x="131" y="271"/>
                    </a:lnTo>
                    <a:lnTo>
                      <a:pt x="130" y="273"/>
                    </a:lnTo>
                    <a:close/>
                    <a:moveTo>
                      <a:pt x="117" y="306"/>
                    </a:moveTo>
                    <a:lnTo>
                      <a:pt x="116" y="308"/>
                    </a:lnTo>
                    <a:lnTo>
                      <a:pt x="115" y="306"/>
                    </a:lnTo>
                    <a:lnTo>
                      <a:pt x="111" y="308"/>
                    </a:lnTo>
                    <a:lnTo>
                      <a:pt x="108" y="306"/>
                    </a:lnTo>
                    <a:lnTo>
                      <a:pt x="109" y="303"/>
                    </a:lnTo>
                    <a:lnTo>
                      <a:pt x="113" y="302"/>
                    </a:lnTo>
                    <a:lnTo>
                      <a:pt x="116" y="302"/>
                    </a:lnTo>
                    <a:lnTo>
                      <a:pt x="117" y="305"/>
                    </a:lnTo>
                    <a:lnTo>
                      <a:pt x="117" y="306"/>
                    </a:lnTo>
                    <a:close/>
                    <a:moveTo>
                      <a:pt x="67" y="356"/>
                    </a:moveTo>
                    <a:lnTo>
                      <a:pt x="65" y="356"/>
                    </a:lnTo>
                    <a:lnTo>
                      <a:pt x="63" y="356"/>
                    </a:lnTo>
                    <a:lnTo>
                      <a:pt x="67" y="354"/>
                    </a:lnTo>
                    <a:lnTo>
                      <a:pt x="72" y="352"/>
                    </a:lnTo>
                    <a:lnTo>
                      <a:pt x="72" y="351"/>
                    </a:lnTo>
                    <a:lnTo>
                      <a:pt x="73" y="351"/>
                    </a:lnTo>
                    <a:lnTo>
                      <a:pt x="73" y="352"/>
                    </a:lnTo>
                    <a:lnTo>
                      <a:pt x="73" y="354"/>
                    </a:lnTo>
                    <a:lnTo>
                      <a:pt x="73" y="355"/>
                    </a:lnTo>
                    <a:lnTo>
                      <a:pt x="67" y="356"/>
                    </a:lnTo>
                    <a:close/>
                    <a:moveTo>
                      <a:pt x="60" y="370"/>
                    </a:moveTo>
                    <a:lnTo>
                      <a:pt x="59" y="370"/>
                    </a:lnTo>
                    <a:lnTo>
                      <a:pt x="56" y="369"/>
                    </a:lnTo>
                    <a:lnTo>
                      <a:pt x="55" y="368"/>
                    </a:lnTo>
                    <a:lnTo>
                      <a:pt x="55" y="366"/>
                    </a:lnTo>
                    <a:lnTo>
                      <a:pt x="58" y="365"/>
                    </a:lnTo>
                    <a:lnTo>
                      <a:pt x="60" y="365"/>
                    </a:lnTo>
                    <a:lnTo>
                      <a:pt x="60" y="366"/>
                    </a:lnTo>
                    <a:lnTo>
                      <a:pt x="60" y="369"/>
                    </a:lnTo>
                    <a:lnTo>
                      <a:pt x="60" y="370"/>
                    </a:lnTo>
                    <a:close/>
                    <a:moveTo>
                      <a:pt x="3" y="458"/>
                    </a:moveTo>
                    <a:lnTo>
                      <a:pt x="2" y="458"/>
                    </a:lnTo>
                    <a:lnTo>
                      <a:pt x="0" y="458"/>
                    </a:lnTo>
                    <a:lnTo>
                      <a:pt x="0" y="454"/>
                    </a:lnTo>
                    <a:lnTo>
                      <a:pt x="2" y="454"/>
                    </a:lnTo>
                    <a:lnTo>
                      <a:pt x="2" y="454"/>
                    </a:lnTo>
                    <a:lnTo>
                      <a:pt x="3" y="455"/>
                    </a:lnTo>
                    <a:lnTo>
                      <a:pt x="3" y="458"/>
                    </a:lnTo>
                    <a:close/>
                    <a:moveTo>
                      <a:pt x="6" y="486"/>
                    </a:moveTo>
                    <a:lnTo>
                      <a:pt x="6" y="490"/>
                    </a:lnTo>
                    <a:lnTo>
                      <a:pt x="5" y="490"/>
                    </a:lnTo>
                    <a:lnTo>
                      <a:pt x="3" y="489"/>
                    </a:lnTo>
                    <a:lnTo>
                      <a:pt x="3" y="487"/>
                    </a:lnTo>
                    <a:lnTo>
                      <a:pt x="3" y="485"/>
                    </a:lnTo>
                    <a:lnTo>
                      <a:pt x="3" y="483"/>
                    </a:lnTo>
                    <a:lnTo>
                      <a:pt x="3" y="482"/>
                    </a:lnTo>
                    <a:lnTo>
                      <a:pt x="3" y="480"/>
                    </a:lnTo>
                    <a:lnTo>
                      <a:pt x="5" y="483"/>
                    </a:lnTo>
                    <a:lnTo>
                      <a:pt x="6" y="486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17" name="Poland">
                <a:extLst>
                  <a:ext uri="{FF2B5EF4-FFF2-40B4-BE49-F238E27FC236}">
                    <a16:creationId xmlns:a16="http://schemas.microsoft.com/office/drawing/2014/main" id="{DCB60966-05B3-B478-EE8F-D1A3081E2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7071" y="2595623"/>
                <a:ext cx="142341" cy="134521"/>
              </a:xfrm>
              <a:custGeom>
                <a:avLst/>
                <a:gdLst>
                  <a:gd name="T0" fmla="*/ 119 w 182"/>
                  <a:gd name="T1" fmla="*/ 14 h 172"/>
                  <a:gd name="T2" fmla="*/ 156 w 182"/>
                  <a:gd name="T3" fmla="*/ 16 h 172"/>
                  <a:gd name="T4" fmla="*/ 162 w 182"/>
                  <a:gd name="T5" fmla="*/ 17 h 172"/>
                  <a:gd name="T6" fmla="*/ 168 w 182"/>
                  <a:gd name="T7" fmla="*/ 21 h 172"/>
                  <a:gd name="T8" fmla="*/ 170 w 182"/>
                  <a:gd name="T9" fmla="*/ 28 h 172"/>
                  <a:gd name="T10" fmla="*/ 177 w 182"/>
                  <a:gd name="T11" fmla="*/ 60 h 172"/>
                  <a:gd name="T12" fmla="*/ 169 w 182"/>
                  <a:gd name="T13" fmla="*/ 71 h 172"/>
                  <a:gd name="T14" fmla="*/ 163 w 182"/>
                  <a:gd name="T15" fmla="*/ 78 h 172"/>
                  <a:gd name="T16" fmla="*/ 172 w 182"/>
                  <a:gd name="T17" fmla="*/ 84 h 172"/>
                  <a:gd name="T18" fmla="*/ 172 w 182"/>
                  <a:gd name="T19" fmla="*/ 92 h 172"/>
                  <a:gd name="T20" fmla="*/ 173 w 182"/>
                  <a:gd name="T21" fmla="*/ 103 h 172"/>
                  <a:gd name="T22" fmla="*/ 176 w 182"/>
                  <a:gd name="T23" fmla="*/ 113 h 172"/>
                  <a:gd name="T24" fmla="*/ 180 w 182"/>
                  <a:gd name="T25" fmla="*/ 122 h 172"/>
                  <a:gd name="T26" fmla="*/ 180 w 182"/>
                  <a:gd name="T27" fmla="*/ 124 h 172"/>
                  <a:gd name="T28" fmla="*/ 179 w 182"/>
                  <a:gd name="T29" fmla="*/ 133 h 172"/>
                  <a:gd name="T30" fmla="*/ 166 w 182"/>
                  <a:gd name="T31" fmla="*/ 142 h 172"/>
                  <a:gd name="T32" fmla="*/ 155 w 182"/>
                  <a:gd name="T33" fmla="*/ 158 h 172"/>
                  <a:gd name="T34" fmla="*/ 155 w 182"/>
                  <a:gd name="T35" fmla="*/ 168 h 172"/>
                  <a:gd name="T36" fmla="*/ 158 w 182"/>
                  <a:gd name="T37" fmla="*/ 172 h 172"/>
                  <a:gd name="T38" fmla="*/ 151 w 182"/>
                  <a:gd name="T39" fmla="*/ 170 h 172"/>
                  <a:gd name="T40" fmla="*/ 141 w 182"/>
                  <a:gd name="T41" fmla="*/ 163 h 172"/>
                  <a:gd name="T42" fmla="*/ 127 w 182"/>
                  <a:gd name="T43" fmla="*/ 161 h 172"/>
                  <a:gd name="T44" fmla="*/ 122 w 182"/>
                  <a:gd name="T45" fmla="*/ 163 h 172"/>
                  <a:gd name="T46" fmla="*/ 115 w 182"/>
                  <a:gd name="T47" fmla="*/ 162 h 172"/>
                  <a:gd name="T48" fmla="*/ 109 w 182"/>
                  <a:gd name="T49" fmla="*/ 163 h 172"/>
                  <a:gd name="T50" fmla="*/ 104 w 182"/>
                  <a:gd name="T51" fmla="*/ 168 h 172"/>
                  <a:gd name="T52" fmla="*/ 102 w 182"/>
                  <a:gd name="T53" fmla="*/ 162 h 172"/>
                  <a:gd name="T54" fmla="*/ 99 w 182"/>
                  <a:gd name="T55" fmla="*/ 161 h 172"/>
                  <a:gd name="T56" fmla="*/ 94 w 182"/>
                  <a:gd name="T57" fmla="*/ 158 h 172"/>
                  <a:gd name="T58" fmla="*/ 87 w 182"/>
                  <a:gd name="T59" fmla="*/ 159 h 172"/>
                  <a:gd name="T60" fmla="*/ 80 w 182"/>
                  <a:gd name="T61" fmla="*/ 149 h 172"/>
                  <a:gd name="T62" fmla="*/ 76 w 182"/>
                  <a:gd name="T63" fmla="*/ 147 h 172"/>
                  <a:gd name="T64" fmla="*/ 71 w 182"/>
                  <a:gd name="T65" fmla="*/ 144 h 172"/>
                  <a:gd name="T66" fmla="*/ 67 w 182"/>
                  <a:gd name="T67" fmla="*/ 145 h 172"/>
                  <a:gd name="T68" fmla="*/ 63 w 182"/>
                  <a:gd name="T69" fmla="*/ 141 h 172"/>
                  <a:gd name="T70" fmla="*/ 65 w 182"/>
                  <a:gd name="T71" fmla="*/ 135 h 172"/>
                  <a:gd name="T72" fmla="*/ 55 w 182"/>
                  <a:gd name="T73" fmla="*/ 134 h 172"/>
                  <a:gd name="T74" fmla="*/ 52 w 182"/>
                  <a:gd name="T75" fmla="*/ 137 h 172"/>
                  <a:gd name="T76" fmla="*/ 46 w 182"/>
                  <a:gd name="T77" fmla="*/ 141 h 172"/>
                  <a:gd name="T78" fmla="*/ 41 w 182"/>
                  <a:gd name="T79" fmla="*/ 135 h 172"/>
                  <a:gd name="T80" fmla="*/ 38 w 182"/>
                  <a:gd name="T81" fmla="*/ 131 h 172"/>
                  <a:gd name="T82" fmla="*/ 41 w 182"/>
                  <a:gd name="T83" fmla="*/ 128 h 172"/>
                  <a:gd name="T84" fmla="*/ 34 w 182"/>
                  <a:gd name="T85" fmla="*/ 127 h 172"/>
                  <a:gd name="T86" fmla="*/ 28 w 182"/>
                  <a:gd name="T87" fmla="*/ 124 h 172"/>
                  <a:gd name="T88" fmla="*/ 21 w 182"/>
                  <a:gd name="T89" fmla="*/ 120 h 172"/>
                  <a:gd name="T90" fmla="*/ 16 w 182"/>
                  <a:gd name="T91" fmla="*/ 116 h 172"/>
                  <a:gd name="T92" fmla="*/ 12 w 182"/>
                  <a:gd name="T93" fmla="*/ 120 h 172"/>
                  <a:gd name="T94" fmla="*/ 14 w 182"/>
                  <a:gd name="T95" fmla="*/ 103 h 172"/>
                  <a:gd name="T96" fmla="*/ 10 w 182"/>
                  <a:gd name="T97" fmla="*/ 96 h 172"/>
                  <a:gd name="T98" fmla="*/ 10 w 182"/>
                  <a:gd name="T99" fmla="*/ 88 h 172"/>
                  <a:gd name="T100" fmla="*/ 10 w 182"/>
                  <a:gd name="T101" fmla="*/ 83 h 172"/>
                  <a:gd name="T102" fmla="*/ 7 w 182"/>
                  <a:gd name="T103" fmla="*/ 77 h 172"/>
                  <a:gd name="T104" fmla="*/ 0 w 182"/>
                  <a:gd name="T105" fmla="*/ 62 h 172"/>
                  <a:gd name="T106" fmla="*/ 5 w 182"/>
                  <a:gd name="T107" fmla="*/ 52 h 172"/>
                  <a:gd name="T108" fmla="*/ 2 w 182"/>
                  <a:gd name="T109" fmla="*/ 35 h 172"/>
                  <a:gd name="T110" fmla="*/ 7 w 182"/>
                  <a:gd name="T111" fmla="*/ 35 h 172"/>
                  <a:gd name="T112" fmla="*/ 0 w 182"/>
                  <a:gd name="T113" fmla="*/ 30 h 172"/>
                  <a:gd name="T114" fmla="*/ 21 w 182"/>
                  <a:gd name="T115" fmla="*/ 23 h 172"/>
                  <a:gd name="T116" fmla="*/ 39 w 182"/>
                  <a:gd name="T117" fmla="*/ 16 h 172"/>
                  <a:gd name="T118" fmla="*/ 56 w 182"/>
                  <a:gd name="T119" fmla="*/ 4 h 172"/>
                  <a:gd name="T120" fmla="*/ 84 w 182"/>
                  <a:gd name="T121" fmla="*/ 6 h 172"/>
                  <a:gd name="T122" fmla="*/ 81 w 182"/>
                  <a:gd name="T123" fmla="*/ 11 h 172"/>
                  <a:gd name="T124" fmla="*/ 98 w 182"/>
                  <a:gd name="T125" fmla="*/ 13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2" h="172">
                    <a:moveTo>
                      <a:pt x="99" y="13"/>
                    </a:moveTo>
                    <a:lnTo>
                      <a:pt x="99" y="13"/>
                    </a:lnTo>
                    <a:lnTo>
                      <a:pt x="105" y="13"/>
                    </a:lnTo>
                    <a:lnTo>
                      <a:pt x="110" y="14"/>
                    </a:lnTo>
                    <a:lnTo>
                      <a:pt x="119" y="14"/>
                    </a:lnTo>
                    <a:lnTo>
                      <a:pt x="127" y="14"/>
                    </a:lnTo>
                    <a:lnTo>
                      <a:pt x="136" y="16"/>
                    </a:lnTo>
                    <a:lnTo>
                      <a:pt x="145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8" y="14"/>
                    </a:lnTo>
                    <a:lnTo>
                      <a:pt x="159" y="14"/>
                    </a:lnTo>
                    <a:lnTo>
                      <a:pt x="161" y="16"/>
                    </a:lnTo>
                    <a:lnTo>
                      <a:pt x="161" y="16"/>
                    </a:lnTo>
                    <a:lnTo>
                      <a:pt x="162" y="17"/>
                    </a:lnTo>
                    <a:lnTo>
                      <a:pt x="162" y="17"/>
                    </a:lnTo>
                    <a:lnTo>
                      <a:pt x="162" y="17"/>
                    </a:lnTo>
                    <a:lnTo>
                      <a:pt x="163" y="18"/>
                    </a:lnTo>
                    <a:lnTo>
                      <a:pt x="166" y="20"/>
                    </a:lnTo>
                    <a:lnTo>
                      <a:pt x="168" y="21"/>
                    </a:lnTo>
                    <a:lnTo>
                      <a:pt x="169" y="23"/>
                    </a:lnTo>
                    <a:lnTo>
                      <a:pt x="169" y="24"/>
                    </a:lnTo>
                    <a:lnTo>
                      <a:pt x="169" y="27"/>
                    </a:lnTo>
                    <a:lnTo>
                      <a:pt x="169" y="28"/>
                    </a:lnTo>
                    <a:lnTo>
                      <a:pt x="170" y="28"/>
                    </a:lnTo>
                    <a:lnTo>
                      <a:pt x="172" y="39"/>
                    </a:lnTo>
                    <a:lnTo>
                      <a:pt x="175" y="49"/>
                    </a:lnTo>
                    <a:lnTo>
                      <a:pt x="176" y="53"/>
                    </a:lnTo>
                    <a:lnTo>
                      <a:pt x="177" y="56"/>
                    </a:lnTo>
                    <a:lnTo>
                      <a:pt x="177" y="60"/>
                    </a:lnTo>
                    <a:lnTo>
                      <a:pt x="177" y="63"/>
                    </a:lnTo>
                    <a:lnTo>
                      <a:pt x="177" y="64"/>
                    </a:lnTo>
                    <a:lnTo>
                      <a:pt x="177" y="66"/>
                    </a:lnTo>
                    <a:lnTo>
                      <a:pt x="176" y="67"/>
                    </a:lnTo>
                    <a:lnTo>
                      <a:pt x="169" y="71"/>
                    </a:lnTo>
                    <a:lnTo>
                      <a:pt x="169" y="71"/>
                    </a:lnTo>
                    <a:lnTo>
                      <a:pt x="166" y="74"/>
                    </a:lnTo>
                    <a:lnTo>
                      <a:pt x="165" y="77"/>
                    </a:lnTo>
                    <a:lnTo>
                      <a:pt x="165" y="78"/>
                    </a:lnTo>
                    <a:lnTo>
                      <a:pt x="163" y="78"/>
                    </a:lnTo>
                    <a:lnTo>
                      <a:pt x="165" y="80"/>
                    </a:lnTo>
                    <a:lnTo>
                      <a:pt x="166" y="81"/>
                    </a:lnTo>
                    <a:lnTo>
                      <a:pt x="169" y="83"/>
                    </a:lnTo>
                    <a:lnTo>
                      <a:pt x="170" y="83"/>
                    </a:lnTo>
                    <a:lnTo>
                      <a:pt x="172" y="84"/>
                    </a:lnTo>
                    <a:lnTo>
                      <a:pt x="172" y="85"/>
                    </a:lnTo>
                    <a:lnTo>
                      <a:pt x="173" y="85"/>
                    </a:lnTo>
                    <a:lnTo>
                      <a:pt x="173" y="88"/>
                    </a:lnTo>
                    <a:lnTo>
                      <a:pt x="172" y="91"/>
                    </a:lnTo>
                    <a:lnTo>
                      <a:pt x="172" y="92"/>
                    </a:lnTo>
                    <a:lnTo>
                      <a:pt x="172" y="94"/>
                    </a:lnTo>
                    <a:lnTo>
                      <a:pt x="170" y="95"/>
                    </a:lnTo>
                    <a:lnTo>
                      <a:pt x="170" y="98"/>
                    </a:lnTo>
                    <a:lnTo>
                      <a:pt x="172" y="101"/>
                    </a:lnTo>
                    <a:lnTo>
                      <a:pt x="173" y="103"/>
                    </a:lnTo>
                    <a:lnTo>
                      <a:pt x="173" y="105"/>
                    </a:lnTo>
                    <a:lnTo>
                      <a:pt x="173" y="106"/>
                    </a:lnTo>
                    <a:lnTo>
                      <a:pt x="173" y="108"/>
                    </a:lnTo>
                    <a:lnTo>
                      <a:pt x="173" y="109"/>
                    </a:lnTo>
                    <a:lnTo>
                      <a:pt x="176" y="113"/>
                    </a:lnTo>
                    <a:lnTo>
                      <a:pt x="177" y="116"/>
                    </a:lnTo>
                    <a:lnTo>
                      <a:pt x="179" y="117"/>
                    </a:lnTo>
                    <a:lnTo>
                      <a:pt x="180" y="120"/>
                    </a:lnTo>
                    <a:lnTo>
                      <a:pt x="182" y="120"/>
                    </a:lnTo>
                    <a:lnTo>
                      <a:pt x="180" y="122"/>
                    </a:lnTo>
                    <a:lnTo>
                      <a:pt x="180" y="122"/>
                    </a:lnTo>
                    <a:lnTo>
                      <a:pt x="179" y="122"/>
                    </a:lnTo>
                    <a:lnTo>
                      <a:pt x="179" y="123"/>
                    </a:lnTo>
                    <a:lnTo>
                      <a:pt x="179" y="123"/>
                    </a:lnTo>
                    <a:lnTo>
                      <a:pt x="180" y="124"/>
                    </a:lnTo>
                    <a:lnTo>
                      <a:pt x="180" y="127"/>
                    </a:lnTo>
                    <a:lnTo>
                      <a:pt x="180" y="130"/>
                    </a:lnTo>
                    <a:lnTo>
                      <a:pt x="180" y="130"/>
                    </a:lnTo>
                    <a:lnTo>
                      <a:pt x="179" y="131"/>
                    </a:lnTo>
                    <a:lnTo>
                      <a:pt x="179" y="133"/>
                    </a:lnTo>
                    <a:lnTo>
                      <a:pt x="173" y="134"/>
                    </a:lnTo>
                    <a:lnTo>
                      <a:pt x="173" y="135"/>
                    </a:lnTo>
                    <a:lnTo>
                      <a:pt x="170" y="138"/>
                    </a:lnTo>
                    <a:lnTo>
                      <a:pt x="169" y="140"/>
                    </a:lnTo>
                    <a:lnTo>
                      <a:pt x="166" y="142"/>
                    </a:lnTo>
                    <a:lnTo>
                      <a:pt x="162" y="148"/>
                    </a:lnTo>
                    <a:lnTo>
                      <a:pt x="161" y="149"/>
                    </a:lnTo>
                    <a:lnTo>
                      <a:pt x="159" y="151"/>
                    </a:lnTo>
                    <a:lnTo>
                      <a:pt x="155" y="156"/>
                    </a:lnTo>
                    <a:lnTo>
                      <a:pt x="155" y="158"/>
                    </a:lnTo>
                    <a:lnTo>
                      <a:pt x="155" y="159"/>
                    </a:lnTo>
                    <a:lnTo>
                      <a:pt x="156" y="163"/>
                    </a:lnTo>
                    <a:lnTo>
                      <a:pt x="156" y="165"/>
                    </a:lnTo>
                    <a:lnTo>
                      <a:pt x="156" y="166"/>
                    </a:lnTo>
                    <a:lnTo>
                      <a:pt x="155" y="168"/>
                    </a:lnTo>
                    <a:lnTo>
                      <a:pt x="155" y="168"/>
                    </a:lnTo>
                    <a:lnTo>
                      <a:pt x="156" y="169"/>
                    </a:lnTo>
                    <a:lnTo>
                      <a:pt x="158" y="170"/>
                    </a:lnTo>
                    <a:lnTo>
                      <a:pt x="158" y="170"/>
                    </a:lnTo>
                    <a:lnTo>
                      <a:pt x="158" y="172"/>
                    </a:lnTo>
                    <a:lnTo>
                      <a:pt x="158" y="172"/>
                    </a:lnTo>
                    <a:lnTo>
                      <a:pt x="155" y="172"/>
                    </a:lnTo>
                    <a:lnTo>
                      <a:pt x="154" y="170"/>
                    </a:lnTo>
                    <a:lnTo>
                      <a:pt x="152" y="170"/>
                    </a:lnTo>
                    <a:lnTo>
                      <a:pt x="151" y="170"/>
                    </a:lnTo>
                    <a:lnTo>
                      <a:pt x="147" y="169"/>
                    </a:lnTo>
                    <a:lnTo>
                      <a:pt x="143" y="166"/>
                    </a:lnTo>
                    <a:lnTo>
                      <a:pt x="143" y="166"/>
                    </a:lnTo>
                    <a:lnTo>
                      <a:pt x="143" y="165"/>
                    </a:lnTo>
                    <a:lnTo>
                      <a:pt x="141" y="163"/>
                    </a:lnTo>
                    <a:lnTo>
                      <a:pt x="137" y="162"/>
                    </a:lnTo>
                    <a:lnTo>
                      <a:pt x="136" y="161"/>
                    </a:lnTo>
                    <a:lnTo>
                      <a:pt x="131" y="161"/>
                    </a:lnTo>
                    <a:lnTo>
                      <a:pt x="129" y="161"/>
                    </a:lnTo>
                    <a:lnTo>
                      <a:pt x="127" y="161"/>
                    </a:lnTo>
                    <a:lnTo>
                      <a:pt x="126" y="161"/>
                    </a:lnTo>
                    <a:lnTo>
                      <a:pt x="124" y="163"/>
                    </a:lnTo>
                    <a:lnTo>
                      <a:pt x="123" y="163"/>
                    </a:lnTo>
                    <a:lnTo>
                      <a:pt x="122" y="163"/>
                    </a:lnTo>
                    <a:lnTo>
                      <a:pt x="122" y="163"/>
                    </a:lnTo>
                    <a:lnTo>
                      <a:pt x="120" y="162"/>
                    </a:lnTo>
                    <a:lnTo>
                      <a:pt x="117" y="162"/>
                    </a:lnTo>
                    <a:lnTo>
                      <a:pt x="116" y="162"/>
                    </a:lnTo>
                    <a:lnTo>
                      <a:pt x="115" y="162"/>
                    </a:lnTo>
                    <a:lnTo>
                      <a:pt x="115" y="162"/>
                    </a:lnTo>
                    <a:lnTo>
                      <a:pt x="113" y="162"/>
                    </a:lnTo>
                    <a:lnTo>
                      <a:pt x="113" y="162"/>
                    </a:lnTo>
                    <a:lnTo>
                      <a:pt x="112" y="162"/>
                    </a:lnTo>
                    <a:lnTo>
                      <a:pt x="110" y="163"/>
                    </a:lnTo>
                    <a:lnTo>
                      <a:pt x="109" y="163"/>
                    </a:lnTo>
                    <a:lnTo>
                      <a:pt x="108" y="165"/>
                    </a:lnTo>
                    <a:lnTo>
                      <a:pt x="108" y="168"/>
                    </a:lnTo>
                    <a:lnTo>
                      <a:pt x="105" y="166"/>
                    </a:lnTo>
                    <a:lnTo>
                      <a:pt x="104" y="168"/>
                    </a:lnTo>
                    <a:lnTo>
                      <a:pt x="104" y="168"/>
                    </a:lnTo>
                    <a:lnTo>
                      <a:pt x="102" y="168"/>
                    </a:lnTo>
                    <a:lnTo>
                      <a:pt x="102" y="166"/>
                    </a:lnTo>
                    <a:lnTo>
                      <a:pt x="102" y="165"/>
                    </a:lnTo>
                    <a:lnTo>
                      <a:pt x="102" y="163"/>
                    </a:lnTo>
                    <a:lnTo>
                      <a:pt x="102" y="162"/>
                    </a:lnTo>
                    <a:lnTo>
                      <a:pt x="102" y="162"/>
                    </a:lnTo>
                    <a:lnTo>
                      <a:pt x="101" y="162"/>
                    </a:lnTo>
                    <a:lnTo>
                      <a:pt x="99" y="162"/>
                    </a:lnTo>
                    <a:lnTo>
                      <a:pt x="99" y="161"/>
                    </a:lnTo>
                    <a:lnTo>
                      <a:pt x="99" y="161"/>
                    </a:lnTo>
                    <a:lnTo>
                      <a:pt x="98" y="159"/>
                    </a:lnTo>
                    <a:lnTo>
                      <a:pt x="97" y="156"/>
                    </a:lnTo>
                    <a:lnTo>
                      <a:pt x="97" y="156"/>
                    </a:lnTo>
                    <a:lnTo>
                      <a:pt x="95" y="156"/>
                    </a:lnTo>
                    <a:lnTo>
                      <a:pt x="94" y="158"/>
                    </a:lnTo>
                    <a:lnTo>
                      <a:pt x="92" y="158"/>
                    </a:lnTo>
                    <a:lnTo>
                      <a:pt x="91" y="162"/>
                    </a:lnTo>
                    <a:lnTo>
                      <a:pt x="88" y="162"/>
                    </a:lnTo>
                    <a:lnTo>
                      <a:pt x="88" y="161"/>
                    </a:lnTo>
                    <a:lnTo>
                      <a:pt x="87" y="159"/>
                    </a:lnTo>
                    <a:lnTo>
                      <a:pt x="85" y="158"/>
                    </a:lnTo>
                    <a:lnTo>
                      <a:pt x="85" y="158"/>
                    </a:lnTo>
                    <a:lnTo>
                      <a:pt x="85" y="155"/>
                    </a:lnTo>
                    <a:lnTo>
                      <a:pt x="81" y="151"/>
                    </a:lnTo>
                    <a:lnTo>
                      <a:pt x="80" y="149"/>
                    </a:lnTo>
                    <a:lnTo>
                      <a:pt x="81" y="149"/>
                    </a:lnTo>
                    <a:lnTo>
                      <a:pt x="80" y="148"/>
                    </a:lnTo>
                    <a:lnTo>
                      <a:pt x="80" y="148"/>
                    </a:lnTo>
                    <a:lnTo>
                      <a:pt x="77" y="147"/>
                    </a:lnTo>
                    <a:lnTo>
                      <a:pt x="76" y="147"/>
                    </a:lnTo>
                    <a:lnTo>
                      <a:pt x="74" y="147"/>
                    </a:lnTo>
                    <a:lnTo>
                      <a:pt x="74" y="145"/>
                    </a:lnTo>
                    <a:lnTo>
                      <a:pt x="71" y="145"/>
                    </a:lnTo>
                    <a:lnTo>
                      <a:pt x="71" y="144"/>
                    </a:lnTo>
                    <a:lnTo>
                      <a:pt x="71" y="144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70" y="145"/>
                    </a:lnTo>
                    <a:lnTo>
                      <a:pt x="67" y="145"/>
                    </a:lnTo>
                    <a:lnTo>
                      <a:pt x="67" y="145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65" y="142"/>
                    </a:lnTo>
                    <a:lnTo>
                      <a:pt x="63" y="141"/>
                    </a:lnTo>
                    <a:lnTo>
                      <a:pt x="63" y="141"/>
                    </a:lnTo>
                    <a:lnTo>
                      <a:pt x="63" y="140"/>
                    </a:lnTo>
                    <a:lnTo>
                      <a:pt x="65" y="140"/>
                    </a:lnTo>
                    <a:lnTo>
                      <a:pt x="66" y="138"/>
                    </a:lnTo>
                    <a:lnTo>
                      <a:pt x="65" y="137"/>
                    </a:lnTo>
                    <a:lnTo>
                      <a:pt x="65" y="135"/>
                    </a:lnTo>
                    <a:lnTo>
                      <a:pt x="65" y="137"/>
                    </a:lnTo>
                    <a:lnTo>
                      <a:pt x="62" y="137"/>
                    </a:lnTo>
                    <a:lnTo>
                      <a:pt x="60" y="137"/>
                    </a:lnTo>
                    <a:lnTo>
                      <a:pt x="59" y="137"/>
                    </a:lnTo>
                    <a:lnTo>
                      <a:pt x="55" y="134"/>
                    </a:lnTo>
                    <a:lnTo>
                      <a:pt x="52" y="133"/>
                    </a:lnTo>
                    <a:lnTo>
                      <a:pt x="49" y="133"/>
                    </a:lnTo>
                    <a:lnTo>
                      <a:pt x="49" y="133"/>
                    </a:lnTo>
                    <a:lnTo>
                      <a:pt x="51" y="135"/>
                    </a:lnTo>
                    <a:lnTo>
                      <a:pt x="52" y="137"/>
                    </a:lnTo>
                    <a:lnTo>
                      <a:pt x="52" y="138"/>
                    </a:lnTo>
                    <a:lnTo>
                      <a:pt x="51" y="138"/>
                    </a:lnTo>
                    <a:lnTo>
                      <a:pt x="49" y="140"/>
                    </a:lnTo>
                    <a:lnTo>
                      <a:pt x="48" y="140"/>
                    </a:lnTo>
                    <a:lnTo>
                      <a:pt x="46" y="141"/>
                    </a:lnTo>
                    <a:lnTo>
                      <a:pt x="46" y="142"/>
                    </a:lnTo>
                    <a:lnTo>
                      <a:pt x="45" y="142"/>
                    </a:lnTo>
                    <a:lnTo>
                      <a:pt x="45" y="141"/>
                    </a:lnTo>
                    <a:lnTo>
                      <a:pt x="42" y="138"/>
                    </a:lnTo>
                    <a:lnTo>
                      <a:pt x="41" y="135"/>
                    </a:lnTo>
                    <a:lnTo>
                      <a:pt x="39" y="134"/>
                    </a:lnTo>
                    <a:lnTo>
                      <a:pt x="39" y="134"/>
                    </a:lnTo>
                    <a:lnTo>
                      <a:pt x="38" y="134"/>
                    </a:lnTo>
                    <a:lnTo>
                      <a:pt x="38" y="133"/>
                    </a:lnTo>
                    <a:lnTo>
                      <a:pt x="38" y="131"/>
                    </a:lnTo>
                    <a:lnTo>
                      <a:pt x="39" y="131"/>
                    </a:lnTo>
                    <a:lnTo>
                      <a:pt x="41" y="130"/>
                    </a:lnTo>
                    <a:lnTo>
                      <a:pt x="41" y="130"/>
                    </a:lnTo>
                    <a:lnTo>
                      <a:pt x="41" y="130"/>
                    </a:lnTo>
                    <a:lnTo>
                      <a:pt x="41" y="128"/>
                    </a:lnTo>
                    <a:lnTo>
                      <a:pt x="41" y="128"/>
                    </a:lnTo>
                    <a:lnTo>
                      <a:pt x="41" y="127"/>
                    </a:lnTo>
                    <a:lnTo>
                      <a:pt x="39" y="126"/>
                    </a:lnTo>
                    <a:lnTo>
                      <a:pt x="35" y="127"/>
                    </a:lnTo>
                    <a:lnTo>
                      <a:pt x="34" y="127"/>
                    </a:lnTo>
                    <a:lnTo>
                      <a:pt x="34" y="127"/>
                    </a:lnTo>
                    <a:lnTo>
                      <a:pt x="32" y="126"/>
                    </a:lnTo>
                    <a:lnTo>
                      <a:pt x="32" y="126"/>
                    </a:lnTo>
                    <a:lnTo>
                      <a:pt x="31" y="124"/>
                    </a:lnTo>
                    <a:lnTo>
                      <a:pt x="28" y="124"/>
                    </a:lnTo>
                    <a:lnTo>
                      <a:pt x="27" y="123"/>
                    </a:lnTo>
                    <a:lnTo>
                      <a:pt x="24" y="122"/>
                    </a:lnTo>
                    <a:lnTo>
                      <a:pt x="23" y="122"/>
                    </a:lnTo>
                    <a:lnTo>
                      <a:pt x="23" y="122"/>
                    </a:lnTo>
                    <a:lnTo>
                      <a:pt x="21" y="120"/>
                    </a:lnTo>
                    <a:lnTo>
                      <a:pt x="21" y="120"/>
                    </a:lnTo>
                    <a:lnTo>
                      <a:pt x="20" y="117"/>
                    </a:lnTo>
                    <a:lnTo>
                      <a:pt x="19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6" y="119"/>
                    </a:lnTo>
                    <a:lnTo>
                      <a:pt x="16" y="119"/>
                    </a:lnTo>
                    <a:lnTo>
                      <a:pt x="14" y="120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4" y="116"/>
                    </a:lnTo>
                    <a:lnTo>
                      <a:pt x="14" y="113"/>
                    </a:lnTo>
                    <a:lnTo>
                      <a:pt x="16" y="109"/>
                    </a:lnTo>
                    <a:lnTo>
                      <a:pt x="14" y="105"/>
                    </a:lnTo>
                    <a:lnTo>
                      <a:pt x="14" y="103"/>
                    </a:lnTo>
                    <a:lnTo>
                      <a:pt x="14" y="103"/>
                    </a:lnTo>
                    <a:lnTo>
                      <a:pt x="10" y="101"/>
                    </a:lnTo>
                    <a:lnTo>
                      <a:pt x="10" y="101"/>
                    </a:lnTo>
                    <a:lnTo>
                      <a:pt x="12" y="98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9" y="94"/>
                    </a:lnTo>
                    <a:lnTo>
                      <a:pt x="9" y="92"/>
                    </a:lnTo>
                    <a:lnTo>
                      <a:pt x="10" y="89"/>
                    </a:lnTo>
                    <a:lnTo>
                      <a:pt x="10" y="88"/>
                    </a:lnTo>
                    <a:lnTo>
                      <a:pt x="10" y="87"/>
                    </a:lnTo>
                    <a:lnTo>
                      <a:pt x="12" y="85"/>
                    </a:lnTo>
                    <a:lnTo>
                      <a:pt x="12" y="85"/>
                    </a:lnTo>
                    <a:lnTo>
                      <a:pt x="10" y="84"/>
                    </a:lnTo>
                    <a:lnTo>
                      <a:pt x="10" y="83"/>
                    </a:lnTo>
                    <a:lnTo>
                      <a:pt x="10" y="81"/>
                    </a:lnTo>
                    <a:lnTo>
                      <a:pt x="10" y="80"/>
                    </a:lnTo>
                    <a:lnTo>
                      <a:pt x="9" y="78"/>
                    </a:lnTo>
                    <a:lnTo>
                      <a:pt x="7" y="78"/>
                    </a:lnTo>
                    <a:lnTo>
                      <a:pt x="7" y="77"/>
                    </a:lnTo>
                    <a:lnTo>
                      <a:pt x="7" y="74"/>
                    </a:lnTo>
                    <a:lnTo>
                      <a:pt x="9" y="71"/>
                    </a:lnTo>
                    <a:lnTo>
                      <a:pt x="7" y="69"/>
                    </a:lnTo>
                    <a:lnTo>
                      <a:pt x="2" y="64"/>
                    </a:lnTo>
                    <a:lnTo>
                      <a:pt x="0" y="62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3" y="56"/>
                    </a:lnTo>
                    <a:lnTo>
                      <a:pt x="5" y="55"/>
                    </a:lnTo>
                    <a:lnTo>
                      <a:pt x="5" y="52"/>
                    </a:lnTo>
                    <a:lnTo>
                      <a:pt x="5" y="50"/>
                    </a:lnTo>
                    <a:lnTo>
                      <a:pt x="5" y="49"/>
                    </a:lnTo>
                    <a:lnTo>
                      <a:pt x="3" y="41"/>
                    </a:lnTo>
                    <a:lnTo>
                      <a:pt x="3" y="38"/>
                    </a:lnTo>
                    <a:lnTo>
                      <a:pt x="2" y="35"/>
                    </a:lnTo>
                    <a:lnTo>
                      <a:pt x="2" y="35"/>
                    </a:lnTo>
                    <a:lnTo>
                      <a:pt x="6" y="37"/>
                    </a:lnTo>
                    <a:lnTo>
                      <a:pt x="7" y="38"/>
                    </a:lnTo>
                    <a:lnTo>
                      <a:pt x="7" y="37"/>
                    </a:lnTo>
                    <a:lnTo>
                      <a:pt x="7" y="35"/>
                    </a:lnTo>
                    <a:lnTo>
                      <a:pt x="7" y="34"/>
                    </a:lnTo>
                    <a:lnTo>
                      <a:pt x="7" y="32"/>
                    </a:lnTo>
                    <a:lnTo>
                      <a:pt x="3" y="31"/>
                    </a:lnTo>
                    <a:lnTo>
                      <a:pt x="2" y="31"/>
                    </a:lnTo>
                    <a:lnTo>
                      <a:pt x="0" y="30"/>
                    </a:lnTo>
                    <a:lnTo>
                      <a:pt x="2" y="28"/>
                    </a:lnTo>
                    <a:lnTo>
                      <a:pt x="2" y="30"/>
                    </a:lnTo>
                    <a:lnTo>
                      <a:pt x="5" y="30"/>
                    </a:lnTo>
                    <a:lnTo>
                      <a:pt x="10" y="27"/>
                    </a:lnTo>
                    <a:lnTo>
                      <a:pt x="21" y="23"/>
                    </a:lnTo>
                    <a:lnTo>
                      <a:pt x="32" y="18"/>
                    </a:lnTo>
                    <a:lnTo>
                      <a:pt x="35" y="18"/>
                    </a:lnTo>
                    <a:lnTo>
                      <a:pt x="37" y="18"/>
                    </a:lnTo>
                    <a:lnTo>
                      <a:pt x="38" y="17"/>
                    </a:lnTo>
                    <a:lnTo>
                      <a:pt x="39" y="16"/>
                    </a:lnTo>
                    <a:lnTo>
                      <a:pt x="41" y="13"/>
                    </a:lnTo>
                    <a:lnTo>
                      <a:pt x="44" y="10"/>
                    </a:lnTo>
                    <a:lnTo>
                      <a:pt x="49" y="9"/>
                    </a:lnTo>
                    <a:lnTo>
                      <a:pt x="52" y="7"/>
                    </a:lnTo>
                    <a:lnTo>
                      <a:pt x="56" y="4"/>
                    </a:lnTo>
                    <a:lnTo>
                      <a:pt x="67" y="2"/>
                    </a:lnTo>
                    <a:lnTo>
                      <a:pt x="71" y="0"/>
                    </a:lnTo>
                    <a:lnTo>
                      <a:pt x="76" y="0"/>
                    </a:lnTo>
                    <a:lnTo>
                      <a:pt x="80" y="3"/>
                    </a:lnTo>
                    <a:lnTo>
                      <a:pt x="84" y="6"/>
                    </a:lnTo>
                    <a:lnTo>
                      <a:pt x="84" y="7"/>
                    </a:lnTo>
                    <a:lnTo>
                      <a:pt x="83" y="6"/>
                    </a:lnTo>
                    <a:lnTo>
                      <a:pt x="80" y="3"/>
                    </a:lnTo>
                    <a:lnTo>
                      <a:pt x="78" y="3"/>
                    </a:lnTo>
                    <a:lnTo>
                      <a:pt x="81" y="11"/>
                    </a:lnTo>
                    <a:lnTo>
                      <a:pt x="83" y="13"/>
                    </a:lnTo>
                    <a:lnTo>
                      <a:pt x="85" y="16"/>
                    </a:lnTo>
                    <a:lnTo>
                      <a:pt x="88" y="16"/>
                    </a:lnTo>
                    <a:lnTo>
                      <a:pt x="95" y="14"/>
                    </a:lnTo>
                    <a:lnTo>
                      <a:pt x="98" y="13"/>
                    </a:lnTo>
                    <a:lnTo>
                      <a:pt x="99" y="13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800" kern="0">
                  <a:solidFill>
                    <a:srgbClr val="000000"/>
                  </a:solidFill>
                  <a:latin typeface="RR Pioneer"/>
                </a:endParaRPr>
              </a:p>
            </p:txBody>
          </p:sp>
          <p:sp>
            <p:nvSpPr>
              <p:cNvPr id="520" name="Romania">
                <a:extLst>
                  <a:ext uri="{FF2B5EF4-FFF2-40B4-BE49-F238E27FC236}">
                    <a16:creationId xmlns:a16="http://schemas.microsoft.com/office/drawing/2014/main" id="{351B4B7B-3679-0635-885C-537579A9A7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3102" y="2746567"/>
                <a:ext cx="135302" cy="93070"/>
              </a:xfrm>
              <a:custGeom>
                <a:avLst/>
                <a:gdLst>
                  <a:gd name="T0" fmla="*/ 156 w 173"/>
                  <a:gd name="T1" fmla="*/ 79 h 119"/>
                  <a:gd name="T2" fmla="*/ 156 w 173"/>
                  <a:gd name="T3" fmla="*/ 78 h 119"/>
                  <a:gd name="T4" fmla="*/ 170 w 173"/>
                  <a:gd name="T5" fmla="*/ 76 h 119"/>
                  <a:gd name="T6" fmla="*/ 172 w 173"/>
                  <a:gd name="T7" fmla="*/ 86 h 119"/>
                  <a:gd name="T8" fmla="*/ 161 w 173"/>
                  <a:gd name="T9" fmla="*/ 89 h 119"/>
                  <a:gd name="T10" fmla="*/ 158 w 173"/>
                  <a:gd name="T11" fmla="*/ 87 h 119"/>
                  <a:gd name="T12" fmla="*/ 156 w 173"/>
                  <a:gd name="T13" fmla="*/ 96 h 119"/>
                  <a:gd name="T14" fmla="*/ 154 w 173"/>
                  <a:gd name="T15" fmla="*/ 104 h 119"/>
                  <a:gd name="T16" fmla="*/ 148 w 173"/>
                  <a:gd name="T17" fmla="*/ 118 h 119"/>
                  <a:gd name="T18" fmla="*/ 137 w 173"/>
                  <a:gd name="T19" fmla="*/ 112 h 119"/>
                  <a:gd name="T20" fmla="*/ 126 w 173"/>
                  <a:gd name="T21" fmla="*/ 107 h 119"/>
                  <a:gd name="T22" fmla="*/ 104 w 173"/>
                  <a:gd name="T23" fmla="*/ 114 h 119"/>
                  <a:gd name="T24" fmla="*/ 84 w 173"/>
                  <a:gd name="T25" fmla="*/ 118 h 119"/>
                  <a:gd name="T26" fmla="*/ 55 w 173"/>
                  <a:gd name="T27" fmla="*/ 114 h 119"/>
                  <a:gd name="T28" fmla="*/ 49 w 173"/>
                  <a:gd name="T29" fmla="*/ 111 h 119"/>
                  <a:gd name="T30" fmla="*/ 46 w 173"/>
                  <a:gd name="T31" fmla="*/ 107 h 119"/>
                  <a:gd name="T32" fmla="*/ 44 w 173"/>
                  <a:gd name="T33" fmla="*/ 103 h 119"/>
                  <a:gd name="T34" fmla="*/ 44 w 173"/>
                  <a:gd name="T35" fmla="*/ 97 h 119"/>
                  <a:gd name="T36" fmla="*/ 42 w 173"/>
                  <a:gd name="T37" fmla="*/ 93 h 119"/>
                  <a:gd name="T38" fmla="*/ 31 w 173"/>
                  <a:gd name="T39" fmla="*/ 94 h 119"/>
                  <a:gd name="T40" fmla="*/ 21 w 173"/>
                  <a:gd name="T41" fmla="*/ 90 h 119"/>
                  <a:gd name="T42" fmla="*/ 24 w 173"/>
                  <a:gd name="T43" fmla="*/ 89 h 119"/>
                  <a:gd name="T44" fmla="*/ 21 w 173"/>
                  <a:gd name="T45" fmla="*/ 86 h 119"/>
                  <a:gd name="T46" fmla="*/ 23 w 173"/>
                  <a:gd name="T47" fmla="*/ 83 h 119"/>
                  <a:gd name="T48" fmla="*/ 23 w 173"/>
                  <a:gd name="T49" fmla="*/ 80 h 119"/>
                  <a:gd name="T50" fmla="*/ 14 w 173"/>
                  <a:gd name="T51" fmla="*/ 78 h 119"/>
                  <a:gd name="T52" fmla="*/ 10 w 173"/>
                  <a:gd name="T53" fmla="*/ 73 h 119"/>
                  <a:gd name="T54" fmla="*/ 10 w 173"/>
                  <a:gd name="T55" fmla="*/ 68 h 119"/>
                  <a:gd name="T56" fmla="*/ 9 w 173"/>
                  <a:gd name="T57" fmla="*/ 66 h 119"/>
                  <a:gd name="T58" fmla="*/ 3 w 173"/>
                  <a:gd name="T59" fmla="*/ 61 h 119"/>
                  <a:gd name="T60" fmla="*/ 7 w 173"/>
                  <a:gd name="T61" fmla="*/ 57 h 119"/>
                  <a:gd name="T62" fmla="*/ 10 w 173"/>
                  <a:gd name="T63" fmla="*/ 54 h 119"/>
                  <a:gd name="T64" fmla="*/ 17 w 173"/>
                  <a:gd name="T65" fmla="*/ 51 h 119"/>
                  <a:gd name="T66" fmla="*/ 20 w 173"/>
                  <a:gd name="T67" fmla="*/ 46 h 119"/>
                  <a:gd name="T68" fmla="*/ 23 w 173"/>
                  <a:gd name="T69" fmla="*/ 40 h 119"/>
                  <a:gd name="T70" fmla="*/ 27 w 173"/>
                  <a:gd name="T71" fmla="*/ 33 h 119"/>
                  <a:gd name="T72" fmla="*/ 33 w 173"/>
                  <a:gd name="T73" fmla="*/ 23 h 119"/>
                  <a:gd name="T74" fmla="*/ 37 w 173"/>
                  <a:gd name="T75" fmla="*/ 16 h 119"/>
                  <a:gd name="T76" fmla="*/ 42 w 173"/>
                  <a:gd name="T77" fmla="*/ 14 h 119"/>
                  <a:gd name="T78" fmla="*/ 49 w 173"/>
                  <a:gd name="T79" fmla="*/ 8 h 119"/>
                  <a:gd name="T80" fmla="*/ 55 w 173"/>
                  <a:gd name="T81" fmla="*/ 5 h 119"/>
                  <a:gd name="T82" fmla="*/ 63 w 173"/>
                  <a:gd name="T83" fmla="*/ 8 h 119"/>
                  <a:gd name="T84" fmla="*/ 74 w 173"/>
                  <a:gd name="T85" fmla="*/ 9 h 119"/>
                  <a:gd name="T86" fmla="*/ 84 w 173"/>
                  <a:gd name="T87" fmla="*/ 14 h 119"/>
                  <a:gd name="T88" fmla="*/ 95 w 173"/>
                  <a:gd name="T89" fmla="*/ 9 h 119"/>
                  <a:gd name="T90" fmla="*/ 111 w 173"/>
                  <a:gd name="T91" fmla="*/ 4 h 119"/>
                  <a:gd name="T92" fmla="*/ 119 w 173"/>
                  <a:gd name="T93" fmla="*/ 0 h 119"/>
                  <a:gd name="T94" fmla="*/ 124 w 173"/>
                  <a:gd name="T95" fmla="*/ 5 h 119"/>
                  <a:gd name="T96" fmla="*/ 130 w 173"/>
                  <a:gd name="T97" fmla="*/ 16 h 119"/>
                  <a:gd name="T98" fmla="*/ 136 w 173"/>
                  <a:gd name="T99" fmla="*/ 26 h 119"/>
                  <a:gd name="T100" fmla="*/ 143 w 173"/>
                  <a:gd name="T101" fmla="*/ 34 h 119"/>
                  <a:gd name="T102" fmla="*/ 147 w 173"/>
                  <a:gd name="T103" fmla="*/ 48 h 119"/>
                  <a:gd name="T104" fmla="*/ 144 w 173"/>
                  <a:gd name="T105" fmla="*/ 65 h 119"/>
                  <a:gd name="T106" fmla="*/ 144 w 173"/>
                  <a:gd name="T107" fmla="*/ 71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3" h="119">
                    <a:moveTo>
                      <a:pt x="145" y="75"/>
                    </a:moveTo>
                    <a:lnTo>
                      <a:pt x="148" y="76"/>
                    </a:lnTo>
                    <a:lnTo>
                      <a:pt x="150" y="78"/>
                    </a:lnTo>
                    <a:lnTo>
                      <a:pt x="155" y="80"/>
                    </a:lnTo>
                    <a:lnTo>
                      <a:pt x="156" y="79"/>
                    </a:lnTo>
                    <a:lnTo>
                      <a:pt x="156" y="79"/>
                    </a:lnTo>
                    <a:lnTo>
                      <a:pt x="155" y="79"/>
                    </a:lnTo>
                    <a:lnTo>
                      <a:pt x="155" y="79"/>
                    </a:lnTo>
                    <a:lnTo>
                      <a:pt x="156" y="78"/>
                    </a:lnTo>
                    <a:lnTo>
                      <a:pt x="156" y="78"/>
                    </a:lnTo>
                    <a:lnTo>
                      <a:pt x="158" y="79"/>
                    </a:lnTo>
                    <a:lnTo>
                      <a:pt x="161" y="78"/>
                    </a:lnTo>
                    <a:lnTo>
                      <a:pt x="163" y="75"/>
                    </a:lnTo>
                    <a:lnTo>
                      <a:pt x="168" y="75"/>
                    </a:lnTo>
                    <a:lnTo>
                      <a:pt x="170" y="76"/>
                    </a:lnTo>
                    <a:lnTo>
                      <a:pt x="172" y="78"/>
                    </a:lnTo>
                    <a:lnTo>
                      <a:pt x="173" y="79"/>
                    </a:lnTo>
                    <a:lnTo>
                      <a:pt x="172" y="80"/>
                    </a:lnTo>
                    <a:lnTo>
                      <a:pt x="172" y="82"/>
                    </a:lnTo>
                    <a:lnTo>
                      <a:pt x="172" y="86"/>
                    </a:lnTo>
                    <a:lnTo>
                      <a:pt x="170" y="87"/>
                    </a:lnTo>
                    <a:lnTo>
                      <a:pt x="170" y="90"/>
                    </a:lnTo>
                    <a:lnTo>
                      <a:pt x="161" y="92"/>
                    </a:lnTo>
                    <a:lnTo>
                      <a:pt x="161" y="92"/>
                    </a:lnTo>
                    <a:lnTo>
                      <a:pt x="161" y="89"/>
                    </a:lnTo>
                    <a:lnTo>
                      <a:pt x="161" y="87"/>
                    </a:lnTo>
                    <a:lnTo>
                      <a:pt x="162" y="86"/>
                    </a:lnTo>
                    <a:lnTo>
                      <a:pt x="159" y="86"/>
                    </a:lnTo>
                    <a:lnTo>
                      <a:pt x="159" y="87"/>
                    </a:lnTo>
                    <a:lnTo>
                      <a:pt x="158" y="87"/>
                    </a:lnTo>
                    <a:lnTo>
                      <a:pt x="158" y="90"/>
                    </a:lnTo>
                    <a:lnTo>
                      <a:pt x="158" y="92"/>
                    </a:lnTo>
                    <a:lnTo>
                      <a:pt x="156" y="93"/>
                    </a:lnTo>
                    <a:lnTo>
                      <a:pt x="156" y="96"/>
                    </a:lnTo>
                    <a:lnTo>
                      <a:pt x="156" y="96"/>
                    </a:lnTo>
                    <a:lnTo>
                      <a:pt x="156" y="97"/>
                    </a:lnTo>
                    <a:lnTo>
                      <a:pt x="158" y="97"/>
                    </a:lnTo>
                    <a:lnTo>
                      <a:pt x="156" y="99"/>
                    </a:lnTo>
                    <a:lnTo>
                      <a:pt x="154" y="101"/>
                    </a:lnTo>
                    <a:lnTo>
                      <a:pt x="154" y="104"/>
                    </a:lnTo>
                    <a:lnTo>
                      <a:pt x="154" y="111"/>
                    </a:lnTo>
                    <a:lnTo>
                      <a:pt x="152" y="117"/>
                    </a:lnTo>
                    <a:lnTo>
                      <a:pt x="152" y="118"/>
                    </a:lnTo>
                    <a:lnTo>
                      <a:pt x="150" y="118"/>
                    </a:lnTo>
                    <a:lnTo>
                      <a:pt x="148" y="118"/>
                    </a:lnTo>
                    <a:lnTo>
                      <a:pt x="145" y="117"/>
                    </a:lnTo>
                    <a:lnTo>
                      <a:pt x="143" y="115"/>
                    </a:lnTo>
                    <a:lnTo>
                      <a:pt x="141" y="114"/>
                    </a:lnTo>
                    <a:lnTo>
                      <a:pt x="140" y="111"/>
                    </a:lnTo>
                    <a:lnTo>
                      <a:pt x="137" y="112"/>
                    </a:lnTo>
                    <a:lnTo>
                      <a:pt x="137" y="112"/>
                    </a:lnTo>
                    <a:lnTo>
                      <a:pt x="136" y="111"/>
                    </a:lnTo>
                    <a:lnTo>
                      <a:pt x="134" y="111"/>
                    </a:lnTo>
                    <a:lnTo>
                      <a:pt x="131" y="111"/>
                    </a:lnTo>
                    <a:lnTo>
                      <a:pt x="126" y="107"/>
                    </a:lnTo>
                    <a:lnTo>
                      <a:pt x="124" y="107"/>
                    </a:lnTo>
                    <a:lnTo>
                      <a:pt x="120" y="107"/>
                    </a:lnTo>
                    <a:lnTo>
                      <a:pt x="115" y="110"/>
                    </a:lnTo>
                    <a:lnTo>
                      <a:pt x="109" y="111"/>
                    </a:lnTo>
                    <a:lnTo>
                      <a:pt x="104" y="114"/>
                    </a:lnTo>
                    <a:lnTo>
                      <a:pt x="102" y="117"/>
                    </a:lnTo>
                    <a:lnTo>
                      <a:pt x="99" y="118"/>
                    </a:lnTo>
                    <a:lnTo>
                      <a:pt x="97" y="119"/>
                    </a:lnTo>
                    <a:lnTo>
                      <a:pt x="90" y="119"/>
                    </a:lnTo>
                    <a:lnTo>
                      <a:pt x="84" y="118"/>
                    </a:lnTo>
                    <a:lnTo>
                      <a:pt x="77" y="117"/>
                    </a:lnTo>
                    <a:lnTo>
                      <a:pt x="73" y="117"/>
                    </a:lnTo>
                    <a:lnTo>
                      <a:pt x="69" y="117"/>
                    </a:lnTo>
                    <a:lnTo>
                      <a:pt x="60" y="115"/>
                    </a:lnTo>
                    <a:lnTo>
                      <a:pt x="55" y="114"/>
                    </a:lnTo>
                    <a:lnTo>
                      <a:pt x="49" y="115"/>
                    </a:lnTo>
                    <a:lnTo>
                      <a:pt x="48" y="115"/>
                    </a:lnTo>
                    <a:lnTo>
                      <a:pt x="48" y="114"/>
                    </a:lnTo>
                    <a:lnTo>
                      <a:pt x="48" y="112"/>
                    </a:lnTo>
                    <a:lnTo>
                      <a:pt x="49" y="111"/>
                    </a:lnTo>
                    <a:lnTo>
                      <a:pt x="51" y="111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49" y="108"/>
                    </a:lnTo>
                    <a:lnTo>
                      <a:pt x="46" y="107"/>
                    </a:lnTo>
                    <a:lnTo>
                      <a:pt x="45" y="105"/>
                    </a:lnTo>
                    <a:lnTo>
                      <a:pt x="45" y="105"/>
                    </a:lnTo>
                    <a:lnTo>
                      <a:pt x="45" y="104"/>
                    </a:lnTo>
                    <a:lnTo>
                      <a:pt x="45" y="103"/>
                    </a:lnTo>
                    <a:lnTo>
                      <a:pt x="44" y="103"/>
                    </a:lnTo>
                    <a:lnTo>
                      <a:pt x="42" y="101"/>
                    </a:lnTo>
                    <a:lnTo>
                      <a:pt x="42" y="100"/>
                    </a:lnTo>
                    <a:lnTo>
                      <a:pt x="42" y="99"/>
                    </a:lnTo>
                    <a:lnTo>
                      <a:pt x="42" y="97"/>
                    </a:lnTo>
                    <a:lnTo>
                      <a:pt x="44" y="97"/>
                    </a:lnTo>
                    <a:lnTo>
                      <a:pt x="45" y="97"/>
                    </a:lnTo>
                    <a:lnTo>
                      <a:pt x="46" y="97"/>
                    </a:lnTo>
                    <a:lnTo>
                      <a:pt x="46" y="96"/>
                    </a:lnTo>
                    <a:lnTo>
                      <a:pt x="45" y="94"/>
                    </a:lnTo>
                    <a:lnTo>
                      <a:pt x="42" y="93"/>
                    </a:lnTo>
                    <a:lnTo>
                      <a:pt x="39" y="94"/>
                    </a:lnTo>
                    <a:lnTo>
                      <a:pt x="37" y="97"/>
                    </a:lnTo>
                    <a:lnTo>
                      <a:pt x="34" y="97"/>
                    </a:lnTo>
                    <a:lnTo>
                      <a:pt x="34" y="96"/>
                    </a:lnTo>
                    <a:lnTo>
                      <a:pt x="31" y="94"/>
                    </a:lnTo>
                    <a:lnTo>
                      <a:pt x="28" y="94"/>
                    </a:lnTo>
                    <a:lnTo>
                      <a:pt x="26" y="93"/>
                    </a:lnTo>
                    <a:lnTo>
                      <a:pt x="26" y="92"/>
                    </a:lnTo>
                    <a:lnTo>
                      <a:pt x="24" y="92"/>
                    </a:lnTo>
                    <a:lnTo>
                      <a:pt x="21" y="90"/>
                    </a:lnTo>
                    <a:lnTo>
                      <a:pt x="21" y="89"/>
                    </a:lnTo>
                    <a:lnTo>
                      <a:pt x="21" y="89"/>
                    </a:lnTo>
                    <a:lnTo>
                      <a:pt x="23" y="89"/>
                    </a:lnTo>
                    <a:lnTo>
                      <a:pt x="24" y="89"/>
                    </a:lnTo>
                    <a:lnTo>
                      <a:pt x="24" y="89"/>
                    </a:lnTo>
                    <a:lnTo>
                      <a:pt x="24" y="87"/>
                    </a:lnTo>
                    <a:lnTo>
                      <a:pt x="23" y="87"/>
                    </a:lnTo>
                    <a:lnTo>
                      <a:pt x="21" y="87"/>
                    </a:lnTo>
                    <a:lnTo>
                      <a:pt x="21" y="86"/>
                    </a:lnTo>
                    <a:lnTo>
                      <a:pt x="21" y="86"/>
                    </a:lnTo>
                    <a:lnTo>
                      <a:pt x="21" y="86"/>
                    </a:lnTo>
                    <a:lnTo>
                      <a:pt x="21" y="85"/>
                    </a:lnTo>
                    <a:lnTo>
                      <a:pt x="21" y="85"/>
                    </a:lnTo>
                    <a:lnTo>
                      <a:pt x="23" y="85"/>
                    </a:lnTo>
                    <a:lnTo>
                      <a:pt x="23" y="83"/>
                    </a:lnTo>
                    <a:lnTo>
                      <a:pt x="23" y="83"/>
                    </a:lnTo>
                    <a:lnTo>
                      <a:pt x="24" y="83"/>
                    </a:lnTo>
                    <a:lnTo>
                      <a:pt x="24" y="82"/>
                    </a:lnTo>
                    <a:lnTo>
                      <a:pt x="23" y="82"/>
                    </a:lnTo>
                    <a:lnTo>
                      <a:pt x="23" y="80"/>
                    </a:lnTo>
                    <a:lnTo>
                      <a:pt x="21" y="80"/>
                    </a:lnTo>
                    <a:lnTo>
                      <a:pt x="19" y="79"/>
                    </a:lnTo>
                    <a:lnTo>
                      <a:pt x="17" y="78"/>
                    </a:lnTo>
                    <a:lnTo>
                      <a:pt x="16" y="78"/>
                    </a:lnTo>
                    <a:lnTo>
                      <a:pt x="14" y="78"/>
                    </a:lnTo>
                    <a:lnTo>
                      <a:pt x="13" y="76"/>
                    </a:lnTo>
                    <a:lnTo>
                      <a:pt x="12" y="75"/>
                    </a:lnTo>
                    <a:lnTo>
                      <a:pt x="10" y="73"/>
                    </a:lnTo>
                    <a:lnTo>
                      <a:pt x="10" y="73"/>
                    </a:lnTo>
                    <a:lnTo>
                      <a:pt x="10" y="73"/>
                    </a:lnTo>
                    <a:lnTo>
                      <a:pt x="10" y="72"/>
                    </a:lnTo>
                    <a:lnTo>
                      <a:pt x="10" y="72"/>
                    </a:lnTo>
                    <a:lnTo>
                      <a:pt x="10" y="71"/>
                    </a:lnTo>
                    <a:lnTo>
                      <a:pt x="10" y="69"/>
                    </a:lnTo>
                    <a:lnTo>
                      <a:pt x="10" y="68"/>
                    </a:lnTo>
                    <a:lnTo>
                      <a:pt x="10" y="66"/>
                    </a:lnTo>
                    <a:lnTo>
                      <a:pt x="10" y="66"/>
                    </a:lnTo>
                    <a:lnTo>
                      <a:pt x="10" y="66"/>
                    </a:lnTo>
                    <a:lnTo>
                      <a:pt x="10" y="66"/>
                    </a:lnTo>
                    <a:lnTo>
                      <a:pt x="9" y="66"/>
                    </a:lnTo>
                    <a:lnTo>
                      <a:pt x="9" y="65"/>
                    </a:lnTo>
                    <a:lnTo>
                      <a:pt x="7" y="64"/>
                    </a:lnTo>
                    <a:lnTo>
                      <a:pt x="6" y="62"/>
                    </a:lnTo>
                    <a:lnTo>
                      <a:pt x="5" y="61"/>
                    </a:lnTo>
                    <a:lnTo>
                      <a:pt x="3" y="61"/>
                    </a:lnTo>
                    <a:lnTo>
                      <a:pt x="2" y="58"/>
                    </a:lnTo>
                    <a:lnTo>
                      <a:pt x="0" y="57"/>
                    </a:lnTo>
                    <a:lnTo>
                      <a:pt x="2" y="57"/>
                    </a:lnTo>
                    <a:lnTo>
                      <a:pt x="6" y="55"/>
                    </a:lnTo>
                    <a:lnTo>
                      <a:pt x="7" y="57"/>
                    </a:lnTo>
                    <a:lnTo>
                      <a:pt x="9" y="57"/>
                    </a:lnTo>
                    <a:lnTo>
                      <a:pt x="9" y="55"/>
                    </a:lnTo>
                    <a:lnTo>
                      <a:pt x="10" y="55"/>
                    </a:lnTo>
                    <a:lnTo>
                      <a:pt x="10" y="54"/>
                    </a:lnTo>
                    <a:lnTo>
                      <a:pt x="10" y="54"/>
                    </a:lnTo>
                    <a:lnTo>
                      <a:pt x="12" y="53"/>
                    </a:lnTo>
                    <a:lnTo>
                      <a:pt x="16" y="54"/>
                    </a:lnTo>
                    <a:lnTo>
                      <a:pt x="17" y="53"/>
                    </a:lnTo>
                    <a:lnTo>
                      <a:pt x="17" y="53"/>
                    </a:lnTo>
                    <a:lnTo>
                      <a:pt x="17" y="51"/>
                    </a:lnTo>
                    <a:lnTo>
                      <a:pt x="19" y="50"/>
                    </a:lnTo>
                    <a:lnTo>
                      <a:pt x="20" y="50"/>
                    </a:lnTo>
                    <a:lnTo>
                      <a:pt x="20" y="48"/>
                    </a:lnTo>
                    <a:lnTo>
                      <a:pt x="19" y="47"/>
                    </a:lnTo>
                    <a:lnTo>
                      <a:pt x="20" y="46"/>
                    </a:lnTo>
                    <a:lnTo>
                      <a:pt x="20" y="44"/>
                    </a:lnTo>
                    <a:lnTo>
                      <a:pt x="21" y="44"/>
                    </a:lnTo>
                    <a:lnTo>
                      <a:pt x="21" y="43"/>
                    </a:lnTo>
                    <a:lnTo>
                      <a:pt x="24" y="41"/>
                    </a:lnTo>
                    <a:lnTo>
                      <a:pt x="23" y="40"/>
                    </a:lnTo>
                    <a:lnTo>
                      <a:pt x="24" y="39"/>
                    </a:lnTo>
                    <a:lnTo>
                      <a:pt x="26" y="37"/>
                    </a:lnTo>
                    <a:lnTo>
                      <a:pt x="27" y="34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8" y="32"/>
                    </a:lnTo>
                    <a:lnTo>
                      <a:pt x="28" y="30"/>
                    </a:lnTo>
                    <a:lnTo>
                      <a:pt x="30" y="26"/>
                    </a:lnTo>
                    <a:lnTo>
                      <a:pt x="31" y="25"/>
                    </a:lnTo>
                    <a:lnTo>
                      <a:pt x="33" y="23"/>
                    </a:lnTo>
                    <a:lnTo>
                      <a:pt x="33" y="23"/>
                    </a:lnTo>
                    <a:lnTo>
                      <a:pt x="33" y="20"/>
                    </a:lnTo>
                    <a:lnTo>
                      <a:pt x="34" y="19"/>
                    </a:lnTo>
                    <a:lnTo>
                      <a:pt x="35" y="19"/>
                    </a:lnTo>
                    <a:lnTo>
                      <a:pt x="37" y="16"/>
                    </a:lnTo>
                    <a:lnTo>
                      <a:pt x="37" y="15"/>
                    </a:lnTo>
                    <a:lnTo>
                      <a:pt x="38" y="14"/>
                    </a:lnTo>
                    <a:lnTo>
                      <a:pt x="39" y="14"/>
                    </a:lnTo>
                    <a:lnTo>
                      <a:pt x="41" y="14"/>
                    </a:lnTo>
                    <a:lnTo>
                      <a:pt x="42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5" y="12"/>
                    </a:lnTo>
                    <a:lnTo>
                      <a:pt x="48" y="9"/>
                    </a:lnTo>
                    <a:lnTo>
                      <a:pt x="49" y="8"/>
                    </a:lnTo>
                    <a:lnTo>
                      <a:pt x="49" y="8"/>
                    </a:lnTo>
                    <a:lnTo>
                      <a:pt x="52" y="7"/>
                    </a:lnTo>
                    <a:lnTo>
                      <a:pt x="52" y="5"/>
                    </a:lnTo>
                    <a:lnTo>
                      <a:pt x="53" y="5"/>
                    </a:lnTo>
                    <a:lnTo>
                      <a:pt x="55" y="5"/>
                    </a:lnTo>
                    <a:lnTo>
                      <a:pt x="59" y="7"/>
                    </a:lnTo>
                    <a:lnTo>
                      <a:pt x="62" y="7"/>
                    </a:lnTo>
                    <a:lnTo>
                      <a:pt x="63" y="7"/>
                    </a:lnTo>
                    <a:lnTo>
                      <a:pt x="63" y="7"/>
                    </a:lnTo>
                    <a:lnTo>
                      <a:pt x="63" y="8"/>
                    </a:lnTo>
                    <a:lnTo>
                      <a:pt x="69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3" y="9"/>
                    </a:lnTo>
                    <a:lnTo>
                      <a:pt x="74" y="9"/>
                    </a:lnTo>
                    <a:lnTo>
                      <a:pt x="76" y="8"/>
                    </a:lnTo>
                    <a:lnTo>
                      <a:pt x="78" y="8"/>
                    </a:lnTo>
                    <a:lnTo>
                      <a:pt x="80" y="9"/>
                    </a:lnTo>
                    <a:lnTo>
                      <a:pt x="81" y="11"/>
                    </a:lnTo>
                    <a:lnTo>
                      <a:pt x="84" y="14"/>
                    </a:lnTo>
                    <a:lnTo>
                      <a:pt x="85" y="15"/>
                    </a:lnTo>
                    <a:lnTo>
                      <a:pt x="87" y="15"/>
                    </a:lnTo>
                    <a:lnTo>
                      <a:pt x="88" y="14"/>
                    </a:lnTo>
                    <a:lnTo>
                      <a:pt x="90" y="12"/>
                    </a:lnTo>
                    <a:lnTo>
                      <a:pt x="95" y="9"/>
                    </a:lnTo>
                    <a:lnTo>
                      <a:pt x="99" y="9"/>
                    </a:lnTo>
                    <a:lnTo>
                      <a:pt x="104" y="8"/>
                    </a:lnTo>
                    <a:lnTo>
                      <a:pt x="108" y="7"/>
                    </a:lnTo>
                    <a:lnTo>
                      <a:pt x="109" y="5"/>
                    </a:lnTo>
                    <a:lnTo>
                      <a:pt x="111" y="4"/>
                    </a:lnTo>
                    <a:lnTo>
                      <a:pt x="111" y="1"/>
                    </a:lnTo>
                    <a:lnTo>
                      <a:pt x="113" y="1"/>
                    </a:lnTo>
                    <a:lnTo>
                      <a:pt x="116" y="0"/>
                    </a:lnTo>
                    <a:lnTo>
                      <a:pt x="116" y="0"/>
                    </a:lnTo>
                    <a:lnTo>
                      <a:pt x="119" y="0"/>
                    </a:lnTo>
                    <a:lnTo>
                      <a:pt x="120" y="0"/>
                    </a:lnTo>
                    <a:lnTo>
                      <a:pt x="122" y="1"/>
                    </a:lnTo>
                    <a:lnTo>
                      <a:pt x="123" y="2"/>
                    </a:lnTo>
                    <a:lnTo>
                      <a:pt x="124" y="4"/>
                    </a:lnTo>
                    <a:lnTo>
                      <a:pt x="124" y="5"/>
                    </a:lnTo>
                    <a:lnTo>
                      <a:pt x="126" y="8"/>
                    </a:lnTo>
                    <a:lnTo>
                      <a:pt x="127" y="11"/>
                    </a:lnTo>
                    <a:lnTo>
                      <a:pt x="129" y="12"/>
                    </a:lnTo>
                    <a:lnTo>
                      <a:pt x="129" y="15"/>
                    </a:lnTo>
                    <a:lnTo>
                      <a:pt x="130" y="16"/>
                    </a:lnTo>
                    <a:lnTo>
                      <a:pt x="131" y="19"/>
                    </a:lnTo>
                    <a:lnTo>
                      <a:pt x="131" y="19"/>
                    </a:lnTo>
                    <a:lnTo>
                      <a:pt x="133" y="20"/>
                    </a:lnTo>
                    <a:lnTo>
                      <a:pt x="134" y="25"/>
                    </a:lnTo>
                    <a:lnTo>
                      <a:pt x="136" y="26"/>
                    </a:lnTo>
                    <a:lnTo>
                      <a:pt x="137" y="27"/>
                    </a:lnTo>
                    <a:lnTo>
                      <a:pt x="138" y="29"/>
                    </a:lnTo>
                    <a:lnTo>
                      <a:pt x="138" y="30"/>
                    </a:lnTo>
                    <a:lnTo>
                      <a:pt x="141" y="33"/>
                    </a:lnTo>
                    <a:lnTo>
                      <a:pt x="143" y="34"/>
                    </a:lnTo>
                    <a:lnTo>
                      <a:pt x="144" y="39"/>
                    </a:lnTo>
                    <a:lnTo>
                      <a:pt x="145" y="41"/>
                    </a:lnTo>
                    <a:lnTo>
                      <a:pt x="147" y="43"/>
                    </a:lnTo>
                    <a:lnTo>
                      <a:pt x="145" y="47"/>
                    </a:lnTo>
                    <a:lnTo>
                      <a:pt x="147" y="48"/>
                    </a:lnTo>
                    <a:lnTo>
                      <a:pt x="145" y="51"/>
                    </a:lnTo>
                    <a:lnTo>
                      <a:pt x="144" y="57"/>
                    </a:lnTo>
                    <a:lnTo>
                      <a:pt x="144" y="61"/>
                    </a:lnTo>
                    <a:lnTo>
                      <a:pt x="144" y="64"/>
                    </a:lnTo>
                    <a:lnTo>
                      <a:pt x="144" y="65"/>
                    </a:lnTo>
                    <a:lnTo>
                      <a:pt x="144" y="65"/>
                    </a:lnTo>
                    <a:lnTo>
                      <a:pt x="144" y="68"/>
                    </a:lnTo>
                    <a:lnTo>
                      <a:pt x="144" y="69"/>
                    </a:lnTo>
                    <a:lnTo>
                      <a:pt x="144" y="69"/>
                    </a:lnTo>
                    <a:lnTo>
                      <a:pt x="144" y="71"/>
                    </a:lnTo>
                    <a:lnTo>
                      <a:pt x="143" y="71"/>
                    </a:lnTo>
                    <a:lnTo>
                      <a:pt x="144" y="71"/>
                    </a:lnTo>
                    <a:lnTo>
                      <a:pt x="144" y="72"/>
                    </a:lnTo>
                    <a:lnTo>
                      <a:pt x="145" y="75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21" name="Serbia">
                <a:extLst>
                  <a:ext uri="{FF2B5EF4-FFF2-40B4-BE49-F238E27FC236}">
                    <a16:creationId xmlns:a16="http://schemas.microsoft.com/office/drawing/2014/main" id="{FF9E4010-A499-E89C-082A-3EE7DF61FF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3549" y="2789582"/>
                <a:ext cx="59439" cy="77427"/>
              </a:xfrm>
              <a:custGeom>
                <a:avLst/>
                <a:gdLst>
                  <a:gd name="T0" fmla="*/ 25 w 76"/>
                  <a:gd name="T1" fmla="*/ 2 h 99"/>
                  <a:gd name="T2" fmla="*/ 31 w 76"/>
                  <a:gd name="T3" fmla="*/ 7 h 99"/>
                  <a:gd name="T4" fmla="*/ 35 w 76"/>
                  <a:gd name="T5" fmla="*/ 11 h 99"/>
                  <a:gd name="T6" fmla="*/ 35 w 76"/>
                  <a:gd name="T7" fmla="*/ 16 h 99"/>
                  <a:gd name="T8" fmla="*/ 35 w 76"/>
                  <a:gd name="T9" fmla="*/ 18 h 99"/>
                  <a:gd name="T10" fmla="*/ 42 w 76"/>
                  <a:gd name="T11" fmla="*/ 23 h 99"/>
                  <a:gd name="T12" fmla="*/ 49 w 76"/>
                  <a:gd name="T13" fmla="*/ 27 h 99"/>
                  <a:gd name="T14" fmla="*/ 46 w 76"/>
                  <a:gd name="T15" fmla="*/ 30 h 99"/>
                  <a:gd name="T16" fmla="*/ 46 w 76"/>
                  <a:gd name="T17" fmla="*/ 32 h 99"/>
                  <a:gd name="T18" fmla="*/ 48 w 76"/>
                  <a:gd name="T19" fmla="*/ 34 h 99"/>
                  <a:gd name="T20" fmla="*/ 51 w 76"/>
                  <a:gd name="T21" fmla="*/ 37 h 99"/>
                  <a:gd name="T22" fmla="*/ 59 w 76"/>
                  <a:gd name="T23" fmla="*/ 42 h 99"/>
                  <a:gd name="T24" fmla="*/ 71 w 76"/>
                  <a:gd name="T25" fmla="*/ 41 h 99"/>
                  <a:gd name="T26" fmla="*/ 67 w 76"/>
                  <a:gd name="T27" fmla="*/ 44 h 99"/>
                  <a:gd name="T28" fmla="*/ 70 w 76"/>
                  <a:gd name="T29" fmla="*/ 49 h 99"/>
                  <a:gd name="T30" fmla="*/ 69 w 76"/>
                  <a:gd name="T31" fmla="*/ 52 h 99"/>
                  <a:gd name="T32" fmla="*/ 64 w 76"/>
                  <a:gd name="T33" fmla="*/ 60 h 99"/>
                  <a:gd name="T34" fmla="*/ 66 w 76"/>
                  <a:gd name="T35" fmla="*/ 66 h 99"/>
                  <a:gd name="T36" fmla="*/ 73 w 76"/>
                  <a:gd name="T37" fmla="*/ 74 h 99"/>
                  <a:gd name="T38" fmla="*/ 74 w 76"/>
                  <a:gd name="T39" fmla="*/ 80 h 99"/>
                  <a:gd name="T40" fmla="*/ 67 w 76"/>
                  <a:gd name="T41" fmla="*/ 84 h 99"/>
                  <a:gd name="T42" fmla="*/ 66 w 76"/>
                  <a:gd name="T43" fmla="*/ 91 h 99"/>
                  <a:gd name="T44" fmla="*/ 66 w 76"/>
                  <a:gd name="T45" fmla="*/ 96 h 99"/>
                  <a:gd name="T46" fmla="*/ 62 w 76"/>
                  <a:gd name="T47" fmla="*/ 96 h 99"/>
                  <a:gd name="T48" fmla="*/ 55 w 76"/>
                  <a:gd name="T49" fmla="*/ 98 h 99"/>
                  <a:gd name="T50" fmla="*/ 49 w 76"/>
                  <a:gd name="T51" fmla="*/ 99 h 99"/>
                  <a:gd name="T52" fmla="*/ 53 w 76"/>
                  <a:gd name="T53" fmla="*/ 91 h 99"/>
                  <a:gd name="T54" fmla="*/ 46 w 76"/>
                  <a:gd name="T55" fmla="*/ 87 h 99"/>
                  <a:gd name="T56" fmla="*/ 42 w 76"/>
                  <a:gd name="T57" fmla="*/ 80 h 99"/>
                  <a:gd name="T58" fmla="*/ 37 w 76"/>
                  <a:gd name="T59" fmla="*/ 76 h 99"/>
                  <a:gd name="T60" fmla="*/ 32 w 76"/>
                  <a:gd name="T61" fmla="*/ 76 h 99"/>
                  <a:gd name="T62" fmla="*/ 32 w 76"/>
                  <a:gd name="T63" fmla="*/ 80 h 99"/>
                  <a:gd name="T64" fmla="*/ 28 w 76"/>
                  <a:gd name="T65" fmla="*/ 85 h 99"/>
                  <a:gd name="T66" fmla="*/ 20 w 76"/>
                  <a:gd name="T67" fmla="*/ 80 h 99"/>
                  <a:gd name="T68" fmla="*/ 13 w 76"/>
                  <a:gd name="T69" fmla="*/ 76 h 99"/>
                  <a:gd name="T70" fmla="*/ 7 w 76"/>
                  <a:gd name="T71" fmla="*/ 69 h 99"/>
                  <a:gd name="T72" fmla="*/ 10 w 76"/>
                  <a:gd name="T73" fmla="*/ 67 h 99"/>
                  <a:gd name="T74" fmla="*/ 10 w 76"/>
                  <a:gd name="T75" fmla="*/ 60 h 99"/>
                  <a:gd name="T76" fmla="*/ 10 w 76"/>
                  <a:gd name="T77" fmla="*/ 56 h 99"/>
                  <a:gd name="T78" fmla="*/ 13 w 76"/>
                  <a:gd name="T79" fmla="*/ 55 h 99"/>
                  <a:gd name="T80" fmla="*/ 6 w 76"/>
                  <a:gd name="T81" fmla="*/ 48 h 99"/>
                  <a:gd name="T82" fmla="*/ 7 w 76"/>
                  <a:gd name="T83" fmla="*/ 41 h 99"/>
                  <a:gd name="T84" fmla="*/ 9 w 76"/>
                  <a:gd name="T85" fmla="*/ 34 h 99"/>
                  <a:gd name="T86" fmla="*/ 3 w 76"/>
                  <a:gd name="T87" fmla="*/ 34 h 99"/>
                  <a:gd name="T88" fmla="*/ 5 w 76"/>
                  <a:gd name="T89" fmla="*/ 31 h 99"/>
                  <a:gd name="T90" fmla="*/ 7 w 76"/>
                  <a:gd name="T91" fmla="*/ 27 h 99"/>
                  <a:gd name="T92" fmla="*/ 10 w 76"/>
                  <a:gd name="T93" fmla="*/ 25 h 99"/>
                  <a:gd name="T94" fmla="*/ 3 w 76"/>
                  <a:gd name="T95" fmla="*/ 21 h 99"/>
                  <a:gd name="T96" fmla="*/ 2 w 76"/>
                  <a:gd name="T97" fmla="*/ 17 h 99"/>
                  <a:gd name="T98" fmla="*/ 2 w 76"/>
                  <a:gd name="T99" fmla="*/ 9 h 99"/>
                  <a:gd name="T100" fmla="*/ 5 w 76"/>
                  <a:gd name="T101" fmla="*/ 6 h 99"/>
                  <a:gd name="T102" fmla="*/ 9 w 76"/>
                  <a:gd name="T103" fmla="*/ 5 h 99"/>
                  <a:gd name="T104" fmla="*/ 13 w 76"/>
                  <a:gd name="T105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6" h="99">
                    <a:moveTo>
                      <a:pt x="17" y="0"/>
                    </a:moveTo>
                    <a:lnTo>
                      <a:pt x="19" y="2"/>
                    </a:lnTo>
                    <a:lnTo>
                      <a:pt x="20" y="0"/>
                    </a:lnTo>
                    <a:lnTo>
                      <a:pt x="24" y="2"/>
                    </a:lnTo>
                    <a:lnTo>
                      <a:pt x="25" y="2"/>
                    </a:lnTo>
                    <a:lnTo>
                      <a:pt x="25" y="2"/>
                    </a:lnTo>
                    <a:lnTo>
                      <a:pt x="27" y="3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1" y="7"/>
                    </a:lnTo>
                    <a:lnTo>
                      <a:pt x="32" y="9"/>
                    </a:lnTo>
                    <a:lnTo>
                      <a:pt x="34" y="10"/>
                    </a:lnTo>
                    <a:lnTo>
                      <a:pt x="34" y="11"/>
                    </a:lnTo>
                    <a:lnTo>
                      <a:pt x="35" y="11"/>
                    </a:lnTo>
                    <a:lnTo>
                      <a:pt x="35" y="11"/>
                    </a:lnTo>
                    <a:lnTo>
                      <a:pt x="35" y="11"/>
                    </a:lnTo>
                    <a:lnTo>
                      <a:pt x="35" y="11"/>
                    </a:lnTo>
                    <a:lnTo>
                      <a:pt x="35" y="13"/>
                    </a:lnTo>
                    <a:lnTo>
                      <a:pt x="35" y="14"/>
                    </a:lnTo>
                    <a:lnTo>
                      <a:pt x="35" y="16"/>
                    </a:lnTo>
                    <a:lnTo>
                      <a:pt x="35" y="17"/>
                    </a:lnTo>
                    <a:lnTo>
                      <a:pt x="35" y="17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7" y="20"/>
                    </a:lnTo>
                    <a:lnTo>
                      <a:pt x="38" y="21"/>
                    </a:lnTo>
                    <a:lnTo>
                      <a:pt x="39" y="23"/>
                    </a:lnTo>
                    <a:lnTo>
                      <a:pt x="41" y="23"/>
                    </a:lnTo>
                    <a:lnTo>
                      <a:pt x="42" y="23"/>
                    </a:lnTo>
                    <a:lnTo>
                      <a:pt x="44" y="24"/>
                    </a:lnTo>
                    <a:lnTo>
                      <a:pt x="46" y="25"/>
                    </a:lnTo>
                    <a:lnTo>
                      <a:pt x="48" y="25"/>
                    </a:lnTo>
                    <a:lnTo>
                      <a:pt x="48" y="27"/>
                    </a:lnTo>
                    <a:lnTo>
                      <a:pt x="49" y="27"/>
                    </a:lnTo>
                    <a:lnTo>
                      <a:pt x="49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1"/>
                    </a:lnTo>
                    <a:lnTo>
                      <a:pt x="46" y="31"/>
                    </a:lnTo>
                    <a:lnTo>
                      <a:pt x="46" y="31"/>
                    </a:lnTo>
                    <a:lnTo>
                      <a:pt x="46" y="32"/>
                    </a:lnTo>
                    <a:lnTo>
                      <a:pt x="48" y="32"/>
                    </a:lnTo>
                    <a:lnTo>
                      <a:pt x="49" y="32"/>
                    </a:lnTo>
                    <a:lnTo>
                      <a:pt x="49" y="34"/>
                    </a:lnTo>
                    <a:lnTo>
                      <a:pt x="49" y="34"/>
                    </a:lnTo>
                    <a:lnTo>
                      <a:pt x="48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5"/>
                    </a:lnTo>
                    <a:lnTo>
                      <a:pt x="49" y="37"/>
                    </a:lnTo>
                    <a:lnTo>
                      <a:pt x="51" y="37"/>
                    </a:lnTo>
                    <a:lnTo>
                      <a:pt x="51" y="38"/>
                    </a:lnTo>
                    <a:lnTo>
                      <a:pt x="53" y="39"/>
                    </a:lnTo>
                    <a:lnTo>
                      <a:pt x="56" y="39"/>
                    </a:lnTo>
                    <a:lnTo>
                      <a:pt x="59" y="41"/>
                    </a:lnTo>
                    <a:lnTo>
                      <a:pt x="59" y="42"/>
                    </a:lnTo>
                    <a:lnTo>
                      <a:pt x="62" y="42"/>
                    </a:lnTo>
                    <a:lnTo>
                      <a:pt x="64" y="39"/>
                    </a:lnTo>
                    <a:lnTo>
                      <a:pt x="67" y="38"/>
                    </a:lnTo>
                    <a:lnTo>
                      <a:pt x="70" y="39"/>
                    </a:lnTo>
                    <a:lnTo>
                      <a:pt x="71" y="41"/>
                    </a:lnTo>
                    <a:lnTo>
                      <a:pt x="71" y="42"/>
                    </a:lnTo>
                    <a:lnTo>
                      <a:pt x="70" y="42"/>
                    </a:lnTo>
                    <a:lnTo>
                      <a:pt x="69" y="42"/>
                    </a:lnTo>
                    <a:lnTo>
                      <a:pt x="67" y="42"/>
                    </a:lnTo>
                    <a:lnTo>
                      <a:pt x="67" y="44"/>
                    </a:lnTo>
                    <a:lnTo>
                      <a:pt x="67" y="45"/>
                    </a:lnTo>
                    <a:lnTo>
                      <a:pt x="67" y="46"/>
                    </a:lnTo>
                    <a:lnTo>
                      <a:pt x="69" y="48"/>
                    </a:lnTo>
                    <a:lnTo>
                      <a:pt x="70" y="48"/>
                    </a:lnTo>
                    <a:lnTo>
                      <a:pt x="70" y="49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69" y="52"/>
                    </a:lnTo>
                    <a:lnTo>
                      <a:pt x="69" y="52"/>
                    </a:lnTo>
                    <a:lnTo>
                      <a:pt x="69" y="55"/>
                    </a:lnTo>
                    <a:lnTo>
                      <a:pt x="66" y="56"/>
                    </a:lnTo>
                    <a:lnTo>
                      <a:pt x="66" y="56"/>
                    </a:lnTo>
                    <a:lnTo>
                      <a:pt x="64" y="57"/>
                    </a:lnTo>
                    <a:lnTo>
                      <a:pt x="64" y="60"/>
                    </a:lnTo>
                    <a:lnTo>
                      <a:pt x="64" y="62"/>
                    </a:lnTo>
                    <a:lnTo>
                      <a:pt x="64" y="63"/>
                    </a:lnTo>
                    <a:lnTo>
                      <a:pt x="64" y="63"/>
                    </a:lnTo>
                    <a:lnTo>
                      <a:pt x="66" y="64"/>
                    </a:lnTo>
                    <a:lnTo>
                      <a:pt x="66" y="66"/>
                    </a:lnTo>
                    <a:lnTo>
                      <a:pt x="67" y="69"/>
                    </a:lnTo>
                    <a:lnTo>
                      <a:pt x="67" y="70"/>
                    </a:lnTo>
                    <a:lnTo>
                      <a:pt x="70" y="71"/>
                    </a:lnTo>
                    <a:lnTo>
                      <a:pt x="71" y="73"/>
                    </a:lnTo>
                    <a:lnTo>
                      <a:pt x="73" y="74"/>
                    </a:lnTo>
                    <a:lnTo>
                      <a:pt x="73" y="76"/>
                    </a:lnTo>
                    <a:lnTo>
                      <a:pt x="76" y="77"/>
                    </a:lnTo>
                    <a:lnTo>
                      <a:pt x="76" y="77"/>
                    </a:lnTo>
                    <a:lnTo>
                      <a:pt x="74" y="78"/>
                    </a:lnTo>
                    <a:lnTo>
                      <a:pt x="74" y="80"/>
                    </a:lnTo>
                    <a:lnTo>
                      <a:pt x="73" y="81"/>
                    </a:lnTo>
                    <a:lnTo>
                      <a:pt x="73" y="81"/>
                    </a:lnTo>
                    <a:lnTo>
                      <a:pt x="70" y="84"/>
                    </a:lnTo>
                    <a:lnTo>
                      <a:pt x="67" y="84"/>
                    </a:lnTo>
                    <a:lnTo>
                      <a:pt x="67" y="84"/>
                    </a:lnTo>
                    <a:lnTo>
                      <a:pt x="66" y="85"/>
                    </a:lnTo>
                    <a:lnTo>
                      <a:pt x="66" y="87"/>
                    </a:lnTo>
                    <a:lnTo>
                      <a:pt x="66" y="87"/>
                    </a:lnTo>
                    <a:lnTo>
                      <a:pt x="66" y="88"/>
                    </a:lnTo>
                    <a:lnTo>
                      <a:pt x="66" y="91"/>
                    </a:lnTo>
                    <a:lnTo>
                      <a:pt x="66" y="92"/>
                    </a:lnTo>
                    <a:lnTo>
                      <a:pt x="67" y="94"/>
                    </a:lnTo>
                    <a:lnTo>
                      <a:pt x="67" y="94"/>
                    </a:lnTo>
                    <a:lnTo>
                      <a:pt x="67" y="95"/>
                    </a:lnTo>
                    <a:lnTo>
                      <a:pt x="66" y="96"/>
                    </a:lnTo>
                    <a:lnTo>
                      <a:pt x="66" y="98"/>
                    </a:lnTo>
                    <a:lnTo>
                      <a:pt x="64" y="98"/>
                    </a:lnTo>
                    <a:lnTo>
                      <a:pt x="63" y="98"/>
                    </a:lnTo>
                    <a:lnTo>
                      <a:pt x="63" y="96"/>
                    </a:lnTo>
                    <a:lnTo>
                      <a:pt x="62" y="96"/>
                    </a:lnTo>
                    <a:lnTo>
                      <a:pt x="60" y="98"/>
                    </a:lnTo>
                    <a:lnTo>
                      <a:pt x="59" y="98"/>
                    </a:lnTo>
                    <a:lnTo>
                      <a:pt x="58" y="98"/>
                    </a:lnTo>
                    <a:lnTo>
                      <a:pt x="56" y="98"/>
                    </a:lnTo>
                    <a:lnTo>
                      <a:pt x="55" y="98"/>
                    </a:lnTo>
                    <a:lnTo>
                      <a:pt x="55" y="98"/>
                    </a:lnTo>
                    <a:lnTo>
                      <a:pt x="53" y="99"/>
                    </a:lnTo>
                    <a:lnTo>
                      <a:pt x="51" y="99"/>
                    </a:lnTo>
                    <a:lnTo>
                      <a:pt x="49" y="99"/>
                    </a:lnTo>
                    <a:lnTo>
                      <a:pt x="49" y="99"/>
                    </a:lnTo>
                    <a:lnTo>
                      <a:pt x="49" y="98"/>
                    </a:lnTo>
                    <a:lnTo>
                      <a:pt x="49" y="96"/>
                    </a:lnTo>
                    <a:lnTo>
                      <a:pt x="51" y="96"/>
                    </a:lnTo>
                    <a:lnTo>
                      <a:pt x="51" y="95"/>
                    </a:lnTo>
                    <a:lnTo>
                      <a:pt x="53" y="91"/>
                    </a:lnTo>
                    <a:lnTo>
                      <a:pt x="53" y="90"/>
                    </a:lnTo>
                    <a:lnTo>
                      <a:pt x="53" y="90"/>
                    </a:lnTo>
                    <a:lnTo>
                      <a:pt x="53" y="90"/>
                    </a:lnTo>
                    <a:lnTo>
                      <a:pt x="52" y="90"/>
                    </a:lnTo>
                    <a:lnTo>
                      <a:pt x="46" y="87"/>
                    </a:lnTo>
                    <a:lnTo>
                      <a:pt x="46" y="85"/>
                    </a:lnTo>
                    <a:lnTo>
                      <a:pt x="45" y="84"/>
                    </a:lnTo>
                    <a:lnTo>
                      <a:pt x="44" y="84"/>
                    </a:lnTo>
                    <a:lnTo>
                      <a:pt x="44" y="83"/>
                    </a:lnTo>
                    <a:lnTo>
                      <a:pt x="42" y="80"/>
                    </a:lnTo>
                    <a:lnTo>
                      <a:pt x="41" y="78"/>
                    </a:lnTo>
                    <a:lnTo>
                      <a:pt x="39" y="78"/>
                    </a:lnTo>
                    <a:lnTo>
                      <a:pt x="38" y="77"/>
                    </a:lnTo>
                    <a:lnTo>
                      <a:pt x="37" y="77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37" y="74"/>
                    </a:lnTo>
                    <a:lnTo>
                      <a:pt x="35" y="74"/>
                    </a:lnTo>
                    <a:lnTo>
                      <a:pt x="34" y="76"/>
                    </a:lnTo>
                    <a:lnTo>
                      <a:pt x="32" y="76"/>
                    </a:lnTo>
                    <a:lnTo>
                      <a:pt x="32" y="77"/>
                    </a:lnTo>
                    <a:lnTo>
                      <a:pt x="32" y="78"/>
                    </a:lnTo>
                    <a:lnTo>
                      <a:pt x="34" y="78"/>
                    </a:lnTo>
                    <a:lnTo>
                      <a:pt x="34" y="80"/>
                    </a:lnTo>
                    <a:lnTo>
                      <a:pt x="32" y="80"/>
                    </a:lnTo>
                    <a:lnTo>
                      <a:pt x="30" y="83"/>
                    </a:lnTo>
                    <a:lnTo>
                      <a:pt x="30" y="83"/>
                    </a:lnTo>
                    <a:lnTo>
                      <a:pt x="30" y="84"/>
                    </a:lnTo>
                    <a:lnTo>
                      <a:pt x="30" y="85"/>
                    </a:lnTo>
                    <a:lnTo>
                      <a:pt x="28" y="85"/>
                    </a:lnTo>
                    <a:lnTo>
                      <a:pt x="28" y="85"/>
                    </a:lnTo>
                    <a:lnTo>
                      <a:pt x="28" y="84"/>
                    </a:lnTo>
                    <a:lnTo>
                      <a:pt x="27" y="83"/>
                    </a:lnTo>
                    <a:lnTo>
                      <a:pt x="24" y="83"/>
                    </a:lnTo>
                    <a:lnTo>
                      <a:pt x="20" y="80"/>
                    </a:lnTo>
                    <a:lnTo>
                      <a:pt x="19" y="78"/>
                    </a:lnTo>
                    <a:lnTo>
                      <a:pt x="17" y="78"/>
                    </a:lnTo>
                    <a:lnTo>
                      <a:pt x="16" y="77"/>
                    </a:lnTo>
                    <a:lnTo>
                      <a:pt x="14" y="77"/>
                    </a:lnTo>
                    <a:lnTo>
                      <a:pt x="13" y="76"/>
                    </a:lnTo>
                    <a:lnTo>
                      <a:pt x="10" y="73"/>
                    </a:lnTo>
                    <a:lnTo>
                      <a:pt x="9" y="71"/>
                    </a:lnTo>
                    <a:lnTo>
                      <a:pt x="7" y="70"/>
                    </a:lnTo>
                    <a:lnTo>
                      <a:pt x="7" y="69"/>
                    </a:lnTo>
                    <a:lnTo>
                      <a:pt x="7" y="69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9" y="66"/>
                    </a:lnTo>
                    <a:lnTo>
                      <a:pt x="10" y="66"/>
                    </a:lnTo>
                    <a:lnTo>
                      <a:pt x="10" y="67"/>
                    </a:lnTo>
                    <a:lnTo>
                      <a:pt x="12" y="67"/>
                    </a:lnTo>
                    <a:lnTo>
                      <a:pt x="12" y="66"/>
                    </a:lnTo>
                    <a:lnTo>
                      <a:pt x="13" y="66"/>
                    </a:lnTo>
                    <a:lnTo>
                      <a:pt x="12" y="63"/>
                    </a:lnTo>
                    <a:lnTo>
                      <a:pt x="10" y="60"/>
                    </a:lnTo>
                    <a:lnTo>
                      <a:pt x="7" y="57"/>
                    </a:lnTo>
                    <a:lnTo>
                      <a:pt x="7" y="57"/>
                    </a:lnTo>
                    <a:lnTo>
                      <a:pt x="9" y="56"/>
                    </a:lnTo>
                    <a:lnTo>
                      <a:pt x="9" y="56"/>
                    </a:lnTo>
                    <a:lnTo>
                      <a:pt x="10" y="56"/>
                    </a:lnTo>
                    <a:lnTo>
                      <a:pt x="12" y="56"/>
                    </a:lnTo>
                    <a:lnTo>
                      <a:pt x="13" y="56"/>
                    </a:lnTo>
                    <a:lnTo>
                      <a:pt x="14" y="56"/>
                    </a:lnTo>
                    <a:lnTo>
                      <a:pt x="14" y="55"/>
                    </a:lnTo>
                    <a:lnTo>
                      <a:pt x="13" y="55"/>
                    </a:lnTo>
                    <a:lnTo>
                      <a:pt x="12" y="52"/>
                    </a:lnTo>
                    <a:lnTo>
                      <a:pt x="9" y="50"/>
                    </a:lnTo>
                    <a:lnTo>
                      <a:pt x="7" y="49"/>
                    </a:lnTo>
                    <a:lnTo>
                      <a:pt x="6" y="49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7" y="41"/>
                    </a:lnTo>
                    <a:lnTo>
                      <a:pt x="9" y="38"/>
                    </a:lnTo>
                    <a:lnTo>
                      <a:pt x="9" y="37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9" y="34"/>
                    </a:lnTo>
                    <a:lnTo>
                      <a:pt x="7" y="32"/>
                    </a:lnTo>
                    <a:lnTo>
                      <a:pt x="6" y="34"/>
                    </a:lnTo>
                    <a:lnTo>
                      <a:pt x="5" y="34"/>
                    </a:lnTo>
                    <a:lnTo>
                      <a:pt x="3" y="34"/>
                    </a:lnTo>
                    <a:lnTo>
                      <a:pt x="3" y="34"/>
                    </a:lnTo>
                    <a:lnTo>
                      <a:pt x="3" y="32"/>
                    </a:lnTo>
                    <a:lnTo>
                      <a:pt x="5" y="32"/>
                    </a:lnTo>
                    <a:lnTo>
                      <a:pt x="5" y="34"/>
                    </a:lnTo>
                    <a:lnTo>
                      <a:pt x="5" y="32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6" y="27"/>
                    </a:lnTo>
                    <a:lnTo>
                      <a:pt x="6" y="27"/>
                    </a:lnTo>
                    <a:lnTo>
                      <a:pt x="6" y="25"/>
                    </a:lnTo>
                    <a:lnTo>
                      <a:pt x="7" y="27"/>
                    </a:lnTo>
                    <a:lnTo>
                      <a:pt x="9" y="27"/>
                    </a:lnTo>
                    <a:lnTo>
                      <a:pt x="10" y="27"/>
                    </a:lnTo>
                    <a:lnTo>
                      <a:pt x="10" y="25"/>
                    </a:lnTo>
                    <a:lnTo>
                      <a:pt x="10" y="25"/>
                    </a:lnTo>
                    <a:lnTo>
                      <a:pt x="10" y="25"/>
                    </a:lnTo>
                    <a:lnTo>
                      <a:pt x="10" y="24"/>
                    </a:lnTo>
                    <a:lnTo>
                      <a:pt x="9" y="24"/>
                    </a:lnTo>
                    <a:lnTo>
                      <a:pt x="9" y="24"/>
                    </a:lnTo>
                    <a:lnTo>
                      <a:pt x="5" y="23"/>
                    </a:lnTo>
                    <a:lnTo>
                      <a:pt x="3" y="21"/>
                    </a:lnTo>
                    <a:lnTo>
                      <a:pt x="3" y="18"/>
                    </a:lnTo>
                    <a:lnTo>
                      <a:pt x="3" y="18"/>
                    </a:lnTo>
                    <a:lnTo>
                      <a:pt x="5" y="17"/>
                    </a:lnTo>
                    <a:lnTo>
                      <a:pt x="5" y="17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2" y="14"/>
                    </a:lnTo>
                    <a:lnTo>
                      <a:pt x="2" y="11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3" y="6"/>
                    </a:lnTo>
                    <a:lnTo>
                      <a:pt x="5" y="6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6" y="6"/>
                    </a:lnTo>
                    <a:lnTo>
                      <a:pt x="7" y="6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0" y="3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13" y="0"/>
                    </a:lnTo>
                    <a:lnTo>
                      <a:pt x="14" y="0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22" name="Sweden">
                <a:extLst>
                  <a:ext uri="{FF2B5EF4-FFF2-40B4-BE49-F238E27FC236}">
                    <a16:creationId xmlns:a16="http://schemas.microsoft.com/office/drawing/2014/main" id="{F411670D-875C-8C16-CA45-25044043C7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84838" y="2158431"/>
                <a:ext cx="184574" cy="425460"/>
              </a:xfrm>
              <a:custGeom>
                <a:avLst/>
                <a:gdLst>
                  <a:gd name="T0" fmla="*/ 210 w 236"/>
                  <a:gd name="T1" fmla="*/ 151 h 544"/>
                  <a:gd name="T2" fmla="*/ 201 w 236"/>
                  <a:gd name="T3" fmla="*/ 162 h 544"/>
                  <a:gd name="T4" fmla="*/ 195 w 236"/>
                  <a:gd name="T5" fmla="*/ 170 h 544"/>
                  <a:gd name="T6" fmla="*/ 187 w 236"/>
                  <a:gd name="T7" fmla="*/ 175 h 544"/>
                  <a:gd name="T8" fmla="*/ 181 w 236"/>
                  <a:gd name="T9" fmla="*/ 197 h 544"/>
                  <a:gd name="T10" fmla="*/ 174 w 236"/>
                  <a:gd name="T11" fmla="*/ 236 h 544"/>
                  <a:gd name="T12" fmla="*/ 152 w 236"/>
                  <a:gd name="T13" fmla="*/ 251 h 544"/>
                  <a:gd name="T14" fmla="*/ 139 w 236"/>
                  <a:gd name="T15" fmla="*/ 264 h 544"/>
                  <a:gd name="T16" fmla="*/ 134 w 236"/>
                  <a:gd name="T17" fmla="*/ 272 h 544"/>
                  <a:gd name="T18" fmla="*/ 123 w 236"/>
                  <a:gd name="T19" fmla="*/ 278 h 544"/>
                  <a:gd name="T20" fmla="*/ 125 w 236"/>
                  <a:gd name="T21" fmla="*/ 288 h 544"/>
                  <a:gd name="T22" fmla="*/ 114 w 236"/>
                  <a:gd name="T23" fmla="*/ 297 h 544"/>
                  <a:gd name="T24" fmla="*/ 114 w 236"/>
                  <a:gd name="T25" fmla="*/ 322 h 544"/>
                  <a:gd name="T26" fmla="*/ 109 w 236"/>
                  <a:gd name="T27" fmla="*/ 338 h 544"/>
                  <a:gd name="T28" fmla="*/ 116 w 236"/>
                  <a:gd name="T29" fmla="*/ 361 h 544"/>
                  <a:gd name="T30" fmla="*/ 131 w 236"/>
                  <a:gd name="T31" fmla="*/ 374 h 544"/>
                  <a:gd name="T32" fmla="*/ 141 w 236"/>
                  <a:gd name="T33" fmla="*/ 395 h 544"/>
                  <a:gd name="T34" fmla="*/ 121 w 236"/>
                  <a:gd name="T35" fmla="*/ 407 h 544"/>
                  <a:gd name="T36" fmla="*/ 107 w 236"/>
                  <a:gd name="T37" fmla="*/ 402 h 544"/>
                  <a:gd name="T38" fmla="*/ 99 w 236"/>
                  <a:gd name="T39" fmla="*/ 405 h 544"/>
                  <a:gd name="T40" fmla="*/ 124 w 236"/>
                  <a:gd name="T41" fmla="*/ 410 h 544"/>
                  <a:gd name="T42" fmla="*/ 132 w 236"/>
                  <a:gd name="T43" fmla="*/ 412 h 544"/>
                  <a:gd name="T44" fmla="*/ 114 w 236"/>
                  <a:gd name="T45" fmla="*/ 427 h 544"/>
                  <a:gd name="T46" fmla="*/ 100 w 236"/>
                  <a:gd name="T47" fmla="*/ 435 h 544"/>
                  <a:gd name="T48" fmla="*/ 98 w 236"/>
                  <a:gd name="T49" fmla="*/ 463 h 544"/>
                  <a:gd name="T50" fmla="*/ 96 w 236"/>
                  <a:gd name="T51" fmla="*/ 492 h 544"/>
                  <a:gd name="T52" fmla="*/ 80 w 236"/>
                  <a:gd name="T53" fmla="*/ 516 h 544"/>
                  <a:gd name="T54" fmla="*/ 56 w 236"/>
                  <a:gd name="T55" fmla="*/ 526 h 544"/>
                  <a:gd name="T56" fmla="*/ 32 w 236"/>
                  <a:gd name="T57" fmla="*/ 540 h 544"/>
                  <a:gd name="T58" fmla="*/ 24 w 236"/>
                  <a:gd name="T59" fmla="*/ 513 h 544"/>
                  <a:gd name="T60" fmla="*/ 31 w 236"/>
                  <a:gd name="T61" fmla="*/ 502 h 544"/>
                  <a:gd name="T62" fmla="*/ 13 w 236"/>
                  <a:gd name="T63" fmla="*/ 467 h 544"/>
                  <a:gd name="T64" fmla="*/ 1 w 236"/>
                  <a:gd name="T65" fmla="*/ 439 h 544"/>
                  <a:gd name="T66" fmla="*/ 7 w 236"/>
                  <a:gd name="T67" fmla="*/ 426 h 544"/>
                  <a:gd name="T68" fmla="*/ 14 w 236"/>
                  <a:gd name="T69" fmla="*/ 391 h 544"/>
                  <a:gd name="T70" fmla="*/ 25 w 236"/>
                  <a:gd name="T71" fmla="*/ 370 h 544"/>
                  <a:gd name="T72" fmla="*/ 29 w 236"/>
                  <a:gd name="T73" fmla="*/ 342 h 544"/>
                  <a:gd name="T74" fmla="*/ 21 w 236"/>
                  <a:gd name="T75" fmla="*/ 304 h 544"/>
                  <a:gd name="T76" fmla="*/ 18 w 236"/>
                  <a:gd name="T77" fmla="*/ 268 h 544"/>
                  <a:gd name="T78" fmla="*/ 34 w 236"/>
                  <a:gd name="T79" fmla="*/ 229 h 544"/>
                  <a:gd name="T80" fmla="*/ 53 w 236"/>
                  <a:gd name="T81" fmla="*/ 211 h 544"/>
                  <a:gd name="T82" fmla="*/ 63 w 236"/>
                  <a:gd name="T83" fmla="*/ 154 h 544"/>
                  <a:gd name="T84" fmla="*/ 80 w 236"/>
                  <a:gd name="T85" fmla="*/ 120 h 544"/>
                  <a:gd name="T86" fmla="*/ 93 w 236"/>
                  <a:gd name="T87" fmla="*/ 74 h 544"/>
                  <a:gd name="T88" fmla="*/ 127 w 236"/>
                  <a:gd name="T89" fmla="*/ 45 h 544"/>
                  <a:gd name="T90" fmla="*/ 146 w 236"/>
                  <a:gd name="T91" fmla="*/ 30 h 544"/>
                  <a:gd name="T92" fmla="*/ 167 w 236"/>
                  <a:gd name="T93" fmla="*/ 10 h 544"/>
                  <a:gd name="T94" fmla="*/ 181 w 236"/>
                  <a:gd name="T95" fmla="*/ 12 h 544"/>
                  <a:gd name="T96" fmla="*/ 210 w 236"/>
                  <a:gd name="T97" fmla="*/ 33 h 544"/>
                  <a:gd name="T98" fmla="*/ 224 w 236"/>
                  <a:gd name="T99" fmla="*/ 58 h 544"/>
                  <a:gd name="T100" fmla="*/ 224 w 236"/>
                  <a:gd name="T101" fmla="*/ 79 h 544"/>
                  <a:gd name="T102" fmla="*/ 229 w 236"/>
                  <a:gd name="T103" fmla="*/ 99 h 544"/>
                  <a:gd name="T104" fmla="*/ 227 w 236"/>
                  <a:gd name="T105" fmla="*/ 123 h 544"/>
                  <a:gd name="T106" fmla="*/ 236 w 236"/>
                  <a:gd name="T107" fmla="*/ 154 h 544"/>
                  <a:gd name="T108" fmla="*/ 135 w 236"/>
                  <a:gd name="T109" fmla="*/ 405 h 544"/>
                  <a:gd name="T110" fmla="*/ 145 w 236"/>
                  <a:gd name="T111" fmla="*/ 460 h 544"/>
                  <a:gd name="T112" fmla="*/ 139 w 236"/>
                  <a:gd name="T113" fmla="*/ 466 h 544"/>
                  <a:gd name="T114" fmla="*/ 131 w 236"/>
                  <a:gd name="T115" fmla="*/ 487 h 544"/>
                  <a:gd name="T116" fmla="*/ 127 w 236"/>
                  <a:gd name="T117" fmla="*/ 474 h 544"/>
                  <a:gd name="T118" fmla="*/ 141 w 236"/>
                  <a:gd name="T119" fmla="*/ 459 h 544"/>
                  <a:gd name="T120" fmla="*/ 103 w 236"/>
                  <a:gd name="T121" fmla="*/ 487 h 544"/>
                  <a:gd name="T122" fmla="*/ 103 w 236"/>
                  <a:gd name="T123" fmla="*/ 490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6" h="544">
                    <a:moveTo>
                      <a:pt x="236" y="154"/>
                    </a:moveTo>
                    <a:lnTo>
                      <a:pt x="231" y="155"/>
                    </a:lnTo>
                    <a:lnTo>
                      <a:pt x="227" y="152"/>
                    </a:lnTo>
                    <a:lnTo>
                      <a:pt x="226" y="154"/>
                    </a:lnTo>
                    <a:lnTo>
                      <a:pt x="223" y="154"/>
                    </a:lnTo>
                    <a:lnTo>
                      <a:pt x="219" y="154"/>
                    </a:lnTo>
                    <a:lnTo>
                      <a:pt x="217" y="157"/>
                    </a:lnTo>
                    <a:lnTo>
                      <a:pt x="217" y="157"/>
                    </a:lnTo>
                    <a:lnTo>
                      <a:pt x="213" y="154"/>
                    </a:lnTo>
                    <a:lnTo>
                      <a:pt x="210" y="151"/>
                    </a:lnTo>
                    <a:lnTo>
                      <a:pt x="208" y="154"/>
                    </a:lnTo>
                    <a:lnTo>
                      <a:pt x="206" y="154"/>
                    </a:lnTo>
                    <a:lnTo>
                      <a:pt x="205" y="151"/>
                    </a:lnTo>
                    <a:lnTo>
                      <a:pt x="203" y="151"/>
                    </a:lnTo>
                    <a:lnTo>
                      <a:pt x="203" y="152"/>
                    </a:lnTo>
                    <a:lnTo>
                      <a:pt x="203" y="154"/>
                    </a:lnTo>
                    <a:lnTo>
                      <a:pt x="202" y="157"/>
                    </a:lnTo>
                    <a:lnTo>
                      <a:pt x="202" y="157"/>
                    </a:lnTo>
                    <a:lnTo>
                      <a:pt x="202" y="162"/>
                    </a:lnTo>
                    <a:lnTo>
                      <a:pt x="201" y="162"/>
                    </a:lnTo>
                    <a:lnTo>
                      <a:pt x="198" y="162"/>
                    </a:lnTo>
                    <a:lnTo>
                      <a:pt x="198" y="164"/>
                    </a:lnTo>
                    <a:lnTo>
                      <a:pt x="199" y="164"/>
                    </a:lnTo>
                    <a:lnTo>
                      <a:pt x="199" y="165"/>
                    </a:lnTo>
                    <a:lnTo>
                      <a:pt x="198" y="166"/>
                    </a:lnTo>
                    <a:lnTo>
                      <a:pt x="195" y="165"/>
                    </a:lnTo>
                    <a:lnTo>
                      <a:pt x="195" y="166"/>
                    </a:lnTo>
                    <a:lnTo>
                      <a:pt x="197" y="168"/>
                    </a:lnTo>
                    <a:lnTo>
                      <a:pt x="195" y="169"/>
                    </a:lnTo>
                    <a:lnTo>
                      <a:pt x="195" y="170"/>
                    </a:lnTo>
                    <a:lnTo>
                      <a:pt x="191" y="170"/>
                    </a:lnTo>
                    <a:lnTo>
                      <a:pt x="188" y="170"/>
                    </a:lnTo>
                    <a:lnTo>
                      <a:pt x="188" y="172"/>
                    </a:lnTo>
                    <a:lnTo>
                      <a:pt x="188" y="173"/>
                    </a:lnTo>
                    <a:lnTo>
                      <a:pt x="188" y="175"/>
                    </a:lnTo>
                    <a:lnTo>
                      <a:pt x="190" y="175"/>
                    </a:lnTo>
                    <a:lnTo>
                      <a:pt x="190" y="176"/>
                    </a:lnTo>
                    <a:lnTo>
                      <a:pt x="190" y="177"/>
                    </a:lnTo>
                    <a:lnTo>
                      <a:pt x="190" y="177"/>
                    </a:lnTo>
                    <a:lnTo>
                      <a:pt x="187" y="175"/>
                    </a:lnTo>
                    <a:lnTo>
                      <a:pt x="185" y="175"/>
                    </a:lnTo>
                    <a:lnTo>
                      <a:pt x="187" y="176"/>
                    </a:lnTo>
                    <a:lnTo>
                      <a:pt x="188" y="177"/>
                    </a:lnTo>
                    <a:lnTo>
                      <a:pt x="188" y="180"/>
                    </a:lnTo>
                    <a:lnTo>
                      <a:pt x="190" y="182"/>
                    </a:lnTo>
                    <a:lnTo>
                      <a:pt x="190" y="183"/>
                    </a:lnTo>
                    <a:lnTo>
                      <a:pt x="187" y="189"/>
                    </a:lnTo>
                    <a:lnTo>
                      <a:pt x="184" y="191"/>
                    </a:lnTo>
                    <a:lnTo>
                      <a:pt x="183" y="194"/>
                    </a:lnTo>
                    <a:lnTo>
                      <a:pt x="181" y="197"/>
                    </a:lnTo>
                    <a:lnTo>
                      <a:pt x="183" y="198"/>
                    </a:lnTo>
                    <a:lnTo>
                      <a:pt x="184" y="200"/>
                    </a:lnTo>
                    <a:lnTo>
                      <a:pt x="184" y="204"/>
                    </a:lnTo>
                    <a:lnTo>
                      <a:pt x="185" y="208"/>
                    </a:lnTo>
                    <a:lnTo>
                      <a:pt x="188" y="211"/>
                    </a:lnTo>
                    <a:lnTo>
                      <a:pt x="188" y="214"/>
                    </a:lnTo>
                    <a:lnTo>
                      <a:pt x="187" y="215"/>
                    </a:lnTo>
                    <a:lnTo>
                      <a:pt x="183" y="218"/>
                    </a:lnTo>
                    <a:lnTo>
                      <a:pt x="178" y="223"/>
                    </a:lnTo>
                    <a:lnTo>
                      <a:pt x="174" y="236"/>
                    </a:lnTo>
                    <a:lnTo>
                      <a:pt x="173" y="237"/>
                    </a:lnTo>
                    <a:lnTo>
                      <a:pt x="169" y="240"/>
                    </a:lnTo>
                    <a:lnTo>
                      <a:pt x="167" y="242"/>
                    </a:lnTo>
                    <a:lnTo>
                      <a:pt x="164" y="244"/>
                    </a:lnTo>
                    <a:lnTo>
                      <a:pt x="159" y="247"/>
                    </a:lnTo>
                    <a:lnTo>
                      <a:pt x="156" y="250"/>
                    </a:lnTo>
                    <a:lnTo>
                      <a:pt x="155" y="253"/>
                    </a:lnTo>
                    <a:lnTo>
                      <a:pt x="155" y="253"/>
                    </a:lnTo>
                    <a:lnTo>
                      <a:pt x="153" y="251"/>
                    </a:lnTo>
                    <a:lnTo>
                      <a:pt x="152" y="251"/>
                    </a:lnTo>
                    <a:lnTo>
                      <a:pt x="151" y="253"/>
                    </a:lnTo>
                    <a:lnTo>
                      <a:pt x="152" y="254"/>
                    </a:lnTo>
                    <a:lnTo>
                      <a:pt x="149" y="253"/>
                    </a:lnTo>
                    <a:lnTo>
                      <a:pt x="148" y="254"/>
                    </a:lnTo>
                    <a:lnTo>
                      <a:pt x="146" y="257"/>
                    </a:lnTo>
                    <a:lnTo>
                      <a:pt x="144" y="262"/>
                    </a:lnTo>
                    <a:lnTo>
                      <a:pt x="139" y="261"/>
                    </a:lnTo>
                    <a:lnTo>
                      <a:pt x="138" y="262"/>
                    </a:lnTo>
                    <a:lnTo>
                      <a:pt x="139" y="262"/>
                    </a:lnTo>
                    <a:lnTo>
                      <a:pt x="139" y="264"/>
                    </a:lnTo>
                    <a:lnTo>
                      <a:pt x="139" y="264"/>
                    </a:lnTo>
                    <a:lnTo>
                      <a:pt x="138" y="264"/>
                    </a:lnTo>
                    <a:lnTo>
                      <a:pt x="137" y="264"/>
                    </a:lnTo>
                    <a:lnTo>
                      <a:pt x="135" y="264"/>
                    </a:lnTo>
                    <a:lnTo>
                      <a:pt x="135" y="267"/>
                    </a:lnTo>
                    <a:lnTo>
                      <a:pt x="134" y="269"/>
                    </a:lnTo>
                    <a:lnTo>
                      <a:pt x="131" y="269"/>
                    </a:lnTo>
                    <a:lnTo>
                      <a:pt x="131" y="271"/>
                    </a:lnTo>
                    <a:lnTo>
                      <a:pt x="130" y="272"/>
                    </a:lnTo>
                    <a:lnTo>
                      <a:pt x="134" y="272"/>
                    </a:lnTo>
                    <a:lnTo>
                      <a:pt x="132" y="274"/>
                    </a:lnTo>
                    <a:lnTo>
                      <a:pt x="132" y="275"/>
                    </a:lnTo>
                    <a:lnTo>
                      <a:pt x="132" y="275"/>
                    </a:lnTo>
                    <a:lnTo>
                      <a:pt x="128" y="278"/>
                    </a:lnTo>
                    <a:lnTo>
                      <a:pt x="128" y="279"/>
                    </a:lnTo>
                    <a:lnTo>
                      <a:pt x="127" y="279"/>
                    </a:lnTo>
                    <a:lnTo>
                      <a:pt x="125" y="279"/>
                    </a:lnTo>
                    <a:lnTo>
                      <a:pt x="125" y="279"/>
                    </a:lnTo>
                    <a:lnTo>
                      <a:pt x="125" y="278"/>
                    </a:lnTo>
                    <a:lnTo>
                      <a:pt x="123" y="278"/>
                    </a:lnTo>
                    <a:lnTo>
                      <a:pt x="123" y="276"/>
                    </a:lnTo>
                    <a:lnTo>
                      <a:pt x="121" y="276"/>
                    </a:lnTo>
                    <a:lnTo>
                      <a:pt x="123" y="278"/>
                    </a:lnTo>
                    <a:lnTo>
                      <a:pt x="123" y="281"/>
                    </a:lnTo>
                    <a:lnTo>
                      <a:pt x="124" y="282"/>
                    </a:lnTo>
                    <a:lnTo>
                      <a:pt x="123" y="285"/>
                    </a:lnTo>
                    <a:lnTo>
                      <a:pt x="123" y="285"/>
                    </a:lnTo>
                    <a:lnTo>
                      <a:pt x="123" y="286"/>
                    </a:lnTo>
                    <a:lnTo>
                      <a:pt x="124" y="286"/>
                    </a:lnTo>
                    <a:lnTo>
                      <a:pt x="125" y="288"/>
                    </a:lnTo>
                    <a:lnTo>
                      <a:pt x="123" y="288"/>
                    </a:lnTo>
                    <a:lnTo>
                      <a:pt x="121" y="292"/>
                    </a:lnTo>
                    <a:lnTo>
                      <a:pt x="119" y="292"/>
                    </a:lnTo>
                    <a:lnTo>
                      <a:pt x="117" y="293"/>
                    </a:lnTo>
                    <a:lnTo>
                      <a:pt x="116" y="293"/>
                    </a:lnTo>
                    <a:lnTo>
                      <a:pt x="116" y="292"/>
                    </a:lnTo>
                    <a:lnTo>
                      <a:pt x="113" y="290"/>
                    </a:lnTo>
                    <a:lnTo>
                      <a:pt x="113" y="293"/>
                    </a:lnTo>
                    <a:lnTo>
                      <a:pt x="113" y="295"/>
                    </a:lnTo>
                    <a:lnTo>
                      <a:pt x="114" y="297"/>
                    </a:lnTo>
                    <a:lnTo>
                      <a:pt x="116" y="300"/>
                    </a:lnTo>
                    <a:lnTo>
                      <a:pt x="117" y="301"/>
                    </a:lnTo>
                    <a:lnTo>
                      <a:pt x="116" y="303"/>
                    </a:lnTo>
                    <a:lnTo>
                      <a:pt x="116" y="304"/>
                    </a:lnTo>
                    <a:lnTo>
                      <a:pt x="114" y="310"/>
                    </a:lnTo>
                    <a:lnTo>
                      <a:pt x="113" y="313"/>
                    </a:lnTo>
                    <a:lnTo>
                      <a:pt x="113" y="315"/>
                    </a:lnTo>
                    <a:lnTo>
                      <a:pt x="113" y="320"/>
                    </a:lnTo>
                    <a:lnTo>
                      <a:pt x="113" y="321"/>
                    </a:lnTo>
                    <a:lnTo>
                      <a:pt x="114" y="322"/>
                    </a:lnTo>
                    <a:lnTo>
                      <a:pt x="112" y="322"/>
                    </a:lnTo>
                    <a:lnTo>
                      <a:pt x="110" y="321"/>
                    </a:lnTo>
                    <a:lnTo>
                      <a:pt x="110" y="324"/>
                    </a:lnTo>
                    <a:lnTo>
                      <a:pt x="109" y="327"/>
                    </a:lnTo>
                    <a:lnTo>
                      <a:pt x="109" y="329"/>
                    </a:lnTo>
                    <a:lnTo>
                      <a:pt x="109" y="332"/>
                    </a:lnTo>
                    <a:lnTo>
                      <a:pt x="109" y="335"/>
                    </a:lnTo>
                    <a:lnTo>
                      <a:pt x="109" y="335"/>
                    </a:lnTo>
                    <a:lnTo>
                      <a:pt x="110" y="338"/>
                    </a:lnTo>
                    <a:lnTo>
                      <a:pt x="109" y="338"/>
                    </a:lnTo>
                    <a:lnTo>
                      <a:pt x="109" y="339"/>
                    </a:lnTo>
                    <a:lnTo>
                      <a:pt x="109" y="343"/>
                    </a:lnTo>
                    <a:lnTo>
                      <a:pt x="110" y="349"/>
                    </a:lnTo>
                    <a:lnTo>
                      <a:pt x="110" y="350"/>
                    </a:lnTo>
                    <a:lnTo>
                      <a:pt x="112" y="356"/>
                    </a:lnTo>
                    <a:lnTo>
                      <a:pt x="110" y="357"/>
                    </a:lnTo>
                    <a:lnTo>
                      <a:pt x="110" y="360"/>
                    </a:lnTo>
                    <a:lnTo>
                      <a:pt x="113" y="363"/>
                    </a:lnTo>
                    <a:lnTo>
                      <a:pt x="114" y="361"/>
                    </a:lnTo>
                    <a:lnTo>
                      <a:pt x="116" y="361"/>
                    </a:lnTo>
                    <a:lnTo>
                      <a:pt x="117" y="363"/>
                    </a:lnTo>
                    <a:lnTo>
                      <a:pt x="117" y="364"/>
                    </a:lnTo>
                    <a:lnTo>
                      <a:pt x="119" y="366"/>
                    </a:lnTo>
                    <a:lnTo>
                      <a:pt x="120" y="366"/>
                    </a:lnTo>
                    <a:lnTo>
                      <a:pt x="121" y="364"/>
                    </a:lnTo>
                    <a:lnTo>
                      <a:pt x="123" y="364"/>
                    </a:lnTo>
                    <a:lnTo>
                      <a:pt x="124" y="367"/>
                    </a:lnTo>
                    <a:lnTo>
                      <a:pt x="127" y="371"/>
                    </a:lnTo>
                    <a:lnTo>
                      <a:pt x="128" y="373"/>
                    </a:lnTo>
                    <a:lnTo>
                      <a:pt x="131" y="374"/>
                    </a:lnTo>
                    <a:lnTo>
                      <a:pt x="134" y="377"/>
                    </a:lnTo>
                    <a:lnTo>
                      <a:pt x="134" y="380"/>
                    </a:lnTo>
                    <a:lnTo>
                      <a:pt x="135" y="381"/>
                    </a:lnTo>
                    <a:lnTo>
                      <a:pt x="138" y="382"/>
                    </a:lnTo>
                    <a:lnTo>
                      <a:pt x="139" y="385"/>
                    </a:lnTo>
                    <a:lnTo>
                      <a:pt x="141" y="386"/>
                    </a:lnTo>
                    <a:lnTo>
                      <a:pt x="141" y="388"/>
                    </a:lnTo>
                    <a:lnTo>
                      <a:pt x="142" y="392"/>
                    </a:lnTo>
                    <a:lnTo>
                      <a:pt x="142" y="395"/>
                    </a:lnTo>
                    <a:lnTo>
                      <a:pt x="141" y="395"/>
                    </a:lnTo>
                    <a:lnTo>
                      <a:pt x="137" y="398"/>
                    </a:lnTo>
                    <a:lnTo>
                      <a:pt x="135" y="400"/>
                    </a:lnTo>
                    <a:lnTo>
                      <a:pt x="135" y="402"/>
                    </a:lnTo>
                    <a:lnTo>
                      <a:pt x="131" y="405"/>
                    </a:lnTo>
                    <a:lnTo>
                      <a:pt x="130" y="405"/>
                    </a:lnTo>
                    <a:lnTo>
                      <a:pt x="130" y="406"/>
                    </a:lnTo>
                    <a:lnTo>
                      <a:pt x="128" y="406"/>
                    </a:lnTo>
                    <a:lnTo>
                      <a:pt x="127" y="406"/>
                    </a:lnTo>
                    <a:lnTo>
                      <a:pt x="124" y="409"/>
                    </a:lnTo>
                    <a:lnTo>
                      <a:pt x="121" y="407"/>
                    </a:lnTo>
                    <a:lnTo>
                      <a:pt x="120" y="406"/>
                    </a:lnTo>
                    <a:lnTo>
                      <a:pt x="121" y="402"/>
                    </a:lnTo>
                    <a:lnTo>
                      <a:pt x="120" y="400"/>
                    </a:lnTo>
                    <a:lnTo>
                      <a:pt x="120" y="399"/>
                    </a:lnTo>
                    <a:lnTo>
                      <a:pt x="119" y="400"/>
                    </a:lnTo>
                    <a:lnTo>
                      <a:pt x="119" y="402"/>
                    </a:lnTo>
                    <a:lnTo>
                      <a:pt x="116" y="402"/>
                    </a:lnTo>
                    <a:lnTo>
                      <a:pt x="113" y="400"/>
                    </a:lnTo>
                    <a:lnTo>
                      <a:pt x="113" y="403"/>
                    </a:lnTo>
                    <a:lnTo>
                      <a:pt x="107" y="402"/>
                    </a:lnTo>
                    <a:lnTo>
                      <a:pt x="106" y="402"/>
                    </a:lnTo>
                    <a:lnTo>
                      <a:pt x="103" y="400"/>
                    </a:lnTo>
                    <a:lnTo>
                      <a:pt x="102" y="402"/>
                    </a:lnTo>
                    <a:lnTo>
                      <a:pt x="99" y="402"/>
                    </a:lnTo>
                    <a:lnTo>
                      <a:pt x="98" y="399"/>
                    </a:lnTo>
                    <a:lnTo>
                      <a:pt x="96" y="403"/>
                    </a:lnTo>
                    <a:lnTo>
                      <a:pt x="92" y="403"/>
                    </a:lnTo>
                    <a:lnTo>
                      <a:pt x="89" y="405"/>
                    </a:lnTo>
                    <a:lnTo>
                      <a:pt x="91" y="406"/>
                    </a:lnTo>
                    <a:lnTo>
                      <a:pt x="99" y="405"/>
                    </a:lnTo>
                    <a:lnTo>
                      <a:pt x="102" y="406"/>
                    </a:lnTo>
                    <a:lnTo>
                      <a:pt x="105" y="406"/>
                    </a:lnTo>
                    <a:lnTo>
                      <a:pt x="107" y="409"/>
                    </a:lnTo>
                    <a:lnTo>
                      <a:pt x="109" y="409"/>
                    </a:lnTo>
                    <a:lnTo>
                      <a:pt x="112" y="412"/>
                    </a:lnTo>
                    <a:lnTo>
                      <a:pt x="113" y="412"/>
                    </a:lnTo>
                    <a:lnTo>
                      <a:pt x="114" y="412"/>
                    </a:lnTo>
                    <a:lnTo>
                      <a:pt x="116" y="412"/>
                    </a:lnTo>
                    <a:lnTo>
                      <a:pt x="121" y="412"/>
                    </a:lnTo>
                    <a:lnTo>
                      <a:pt x="124" y="410"/>
                    </a:lnTo>
                    <a:lnTo>
                      <a:pt x="127" y="410"/>
                    </a:lnTo>
                    <a:lnTo>
                      <a:pt x="128" y="410"/>
                    </a:lnTo>
                    <a:lnTo>
                      <a:pt x="130" y="409"/>
                    </a:lnTo>
                    <a:lnTo>
                      <a:pt x="130" y="407"/>
                    </a:lnTo>
                    <a:lnTo>
                      <a:pt x="131" y="409"/>
                    </a:lnTo>
                    <a:lnTo>
                      <a:pt x="132" y="407"/>
                    </a:lnTo>
                    <a:lnTo>
                      <a:pt x="134" y="407"/>
                    </a:lnTo>
                    <a:lnTo>
                      <a:pt x="134" y="407"/>
                    </a:lnTo>
                    <a:lnTo>
                      <a:pt x="135" y="410"/>
                    </a:lnTo>
                    <a:lnTo>
                      <a:pt x="132" y="412"/>
                    </a:lnTo>
                    <a:lnTo>
                      <a:pt x="131" y="412"/>
                    </a:lnTo>
                    <a:lnTo>
                      <a:pt x="131" y="414"/>
                    </a:lnTo>
                    <a:lnTo>
                      <a:pt x="130" y="417"/>
                    </a:lnTo>
                    <a:lnTo>
                      <a:pt x="130" y="417"/>
                    </a:lnTo>
                    <a:lnTo>
                      <a:pt x="125" y="419"/>
                    </a:lnTo>
                    <a:lnTo>
                      <a:pt x="124" y="421"/>
                    </a:lnTo>
                    <a:lnTo>
                      <a:pt x="121" y="423"/>
                    </a:lnTo>
                    <a:lnTo>
                      <a:pt x="120" y="423"/>
                    </a:lnTo>
                    <a:lnTo>
                      <a:pt x="119" y="424"/>
                    </a:lnTo>
                    <a:lnTo>
                      <a:pt x="114" y="427"/>
                    </a:lnTo>
                    <a:lnTo>
                      <a:pt x="112" y="430"/>
                    </a:lnTo>
                    <a:lnTo>
                      <a:pt x="107" y="431"/>
                    </a:lnTo>
                    <a:lnTo>
                      <a:pt x="106" y="434"/>
                    </a:lnTo>
                    <a:lnTo>
                      <a:pt x="99" y="434"/>
                    </a:lnTo>
                    <a:lnTo>
                      <a:pt x="93" y="432"/>
                    </a:lnTo>
                    <a:lnTo>
                      <a:pt x="92" y="434"/>
                    </a:lnTo>
                    <a:lnTo>
                      <a:pt x="93" y="434"/>
                    </a:lnTo>
                    <a:lnTo>
                      <a:pt x="95" y="435"/>
                    </a:lnTo>
                    <a:lnTo>
                      <a:pt x="96" y="435"/>
                    </a:lnTo>
                    <a:lnTo>
                      <a:pt x="100" y="435"/>
                    </a:lnTo>
                    <a:lnTo>
                      <a:pt x="102" y="435"/>
                    </a:lnTo>
                    <a:lnTo>
                      <a:pt x="105" y="439"/>
                    </a:lnTo>
                    <a:lnTo>
                      <a:pt x="103" y="441"/>
                    </a:lnTo>
                    <a:lnTo>
                      <a:pt x="99" y="441"/>
                    </a:lnTo>
                    <a:lnTo>
                      <a:pt x="100" y="445"/>
                    </a:lnTo>
                    <a:lnTo>
                      <a:pt x="102" y="449"/>
                    </a:lnTo>
                    <a:lnTo>
                      <a:pt x="100" y="451"/>
                    </a:lnTo>
                    <a:lnTo>
                      <a:pt x="100" y="459"/>
                    </a:lnTo>
                    <a:lnTo>
                      <a:pt x="99" y="459"/>
                    </a:lnTo>
                    <a:lnTo>
                      <a:pt x="98" y="463"/>
                    </a:lnTo>
                    <a:lnTo>
                      <a:pt x="99" y="465"/>
                    </a:lnTo>
                    <a:lnTo>
                      <a:pt x="99" y="469"/>
                    </a:lnTo>
                    <a:lnTo>
                      <a:pt x="99" y="470"/>
                    </a:lnTo>
                    <a:lnTo>
                      <a:pt x="99" y="473"/>
                    </a:lnTo>
                    <a:lnTo>
                      <a:pt x="99" y="476"/>
                    </a:lnTo>
                    <a:lnTo>
                      <a:pt x="96" y="481"/>
                    </a:lnTo>
                    <a:lnTo>
                      <a:pt x="96" y="484"/>
                    </a:lnTo>
                    <a:lnTo>
                      <a:pt x="98" y="485"/>
                    </a:lnTo>
                    <a:lnTo>
                      <a:pt x="98" y="488"/>
                    </a:lnTo>
                    <a:lnTo>
                      <a:pt x="96" y="492"/>
                    </a:lnTo>
                    <a:lnTo>
                      <a:pt x="95" y="497"/>
                    </a:lnTo>
                    <a:lnTo>
                      <a:pt x="93" y="499"/>
                    </a:lnTo>
                    <a:lnTo>
                      <a:pt x="92" y="504"/>
                    </a:lnTo>
                    <a:lnTo>
                      <a:pt x="91" y="506"/>
                    </a:lnTo>
                    <a:lnTo>
                      <a:pt x="88" y="516"/>
                    </a:lnTo>
                    <a:lnTo>
                      <a:pt x="86" y="517"/>
                    </a:lnTo>
                    <a:lnTo>
                      <a:pt x="85" y="519"/>
                    </a:lnTo>
                    <a:lnTo>
                      <a:pt x="82" y="517"/>
                    </a:lnTo>
                    <a:lnTo>
                      <a:pt x="81" y="516"/>
                    </a:lnTo>
                    <a:lnTo>
                      <a:pt x="80" y="516"/>
                    </a:lnTo>
                    <a:lnTo>
                      <a:pt x="75" y="517"/>
                    </a:lnTo>
                    <a:lnTo>
                      <a:pt x="71" y="517"/>
                    </a:lnTo>
                    <a:lnTo>
                      <a:pt x="66" y="517"/>
                    </a:lnTo>
                    <a:lnTo>
                      <a:pt x="64" y="519"/>
                    </a:lnTo>
                    <a:lnTo>
                      <a:pt x="66" y="522"/>
                    </a:lnTo>
                    <a:lnTo>
                      <a:pt x="63" y="522"/>
                    </a:lnTo>
                    <a:lnTo>
                      <a:pt x="61" y="522"/>
                    </a:lnTo>
                    <a:lnTo>
                      <a:pt x="60" y="522"/>
                    </a:lnTo>
                    <a:lnTo>
                      <a:pt x="59" y="523"/>
                    </a:lnTo>
                    <a:lnTo>
                      <a:pt x="56" y="526"/>
                    </a:lnTo>
                    <a:lnTo>
                      <a:pt x="56" y="529"/>
                    </a:lnTo>
                    <a:lnTo>
                      <a:pt x="54" y="531"/>
                    </a:lnTo>
                    <a:lnTo>
                      <a:pt x="56" y="534"/>
                    </a:lnTo>
                    <a:lnTo>
                      <a:pt x="57" y="538"/>
                    </a:lnTo>
                    <a:lnTo>
                      <a:pt x="54" y="543"/>
                    </a:lnTo>
                    <a:lnTo>
                      <a:pt x="53" y="543"/>
                    </a:lnTo>
                    <a:lnTo>
                      <a:pt x="47" y="541"/>
                    </a:lnTo>
                    <a:lnTo>
                      <a:pt x="39" y="544"/>
                    </a:lnTo>
                    <a:lnTo>
                      <a:pt x="31" y="541"/>
                    </a:lnTo>
                    <a:lnTo>
                      <a:pt x="32" y="540"/>
                    </a:lnTo>
                    <a:lnTo>
                      <a:pt x="32" y="537"/>
                    </a:lnTo>
                    <a:lnTo>
                      <a:pt x="32" y="536"/>
                    </a:lnTo>
                    <a:lnTo>
                      <a:pt x="34" y="533"/>
                    </a:lnTo>
                    <a:lnTo>
                      <a:pt x="32" y="531"/>
                    </a:lnTo>
                    <a:lnTo>
                      <a:pt x="32" y="529"/>
                    </a:lnTo>
                    <a:lnTo>
                      <a:pt x="31" y="526"/>
                    </a:lnTo>
                    <a:lnTo>
                      <a:pt x="27" y="519"/>
                    </a:lnTo>
                    <a:lnTo>
                      <a:pt x="25" y="515"/>
                    </a:lnTo>
                    <a:lnTo>
                      <a:pt x="24" y="513"/>
                    </a:lnTo>
                    <a:lnTo>
                      <a:pt x="24" y="513"/>
                    </a:lnTo>
                    <a:lnTo>
                      <a:pt x="28" y="515"/>
                    </a:lnTo>
                    <a:lnTo>
                      <a:pt x="29" y="515"/>
                    </a:lnTo>
                    <a:lnTo>
                      <a:pt x="29" y="515"/>
                    </a:lnTo>
                    <a:lnTo>
                      <a:pt x="28" y="512"/>
                    </a:lnTo>
                    <a:lnTo>
                      <a:pt x="28" y="511"/>
                    </a:lnTo>
                    <a:lnTo>
                      <a:pt x="27" y="508"/>
                    </a:lnTo>
                    <a:lnTo>
                      <a:pt x="29" y="508"/>
                    </a:lnTo>
                    <a:lnTo>
                      <a:pt x="31" y="508"/>
                    </a:lnTo>
                    <a:lnTo>
                      <a:pt x="32" y="506"/>
                    </a:lnTo>
                    <a:lnTo>
                      <a:pt x="31" y="502"/>
                    </a:lnTo>
                    <a:lnTo>
                      <a:pt x="29" y="501"/>
                    </a:lnTo>
                    <a:lnTo>
                      <a:pt x="28" y="501"/>
                    </a:lnTo>
                    <a:lnTo>
                      <a:pt x="25" y="495"/>
                    </a:lnTo>
                    <a:lnTo>
                      <a:pt x="22" y="492"/>
                    </a:lnTo>
                    <a:lnTo>
                      <a:pt x="18" y="483"/>
                    </a:lnTo>
                    <a:lnTo>
                      <a:pt x="15" y="474"/>
                    </a:lnTo>
                    <a:lnTo>
                      <a:pt x="14" y="476"/>
                    </a:lnTo>
                    <a:lnTo>
                      <a:pt x="14" y="473"/>
                    </a:lnTo>
                    <a:lnTo>
                      <a:pt x="13" y="469"/>
                    </a:lnTo>
                    <a:lnTo>
                      <a:pt x="13" y="467"/>
                    </a:lnTo>
                    <a:lnTo>
                      <a:pt x="10" y="466"/>
                    </a:lnTo>
                    <a:lnTo>
                      <a:pt x="10" y="465"/>
                    </a:lnTo>
                    <a:lnTo>
                      <a:pt x="10" y="458"/>
                    </a:lnTo>
                    <a:lnTo>
                      <a:pt x="7" y="456"/>
                    </a:lnTo>
                    <a:lnTo>
                      <a:pt x="6" y="452"/>
                    </a:lnTo>
                    <a:lnTo>
                      <a:pt x="4" y="445"/>
                    </a:lnTo>
                    <a:lnTo>
                      <a:pt x="3" y="444"/>
                    </a:lnTo>
                    <a:lnTo>
                      <a:pt x="1" y="444"/>
                    </a:lnTo>
                    <a:lnTo>
                      <a:pt x="1" y="441"/>
                    </a:lnTo>
                    <a:lnTo>
                      <a:pt x="1" y="439"/>
                    </a:lnTo>
                    <a:lnTo>
                      <a:pt x="1" y="432"/>
                    </a:lnTo>
                    <a:lnTo>
                      <a:pt x="0" y="426"/>
                    </a:lnTo>
                    <a:lnTo>
                      <a:pt x="0" y="424"/>
                    </a:lnTo>
                    <a:lnTo>
                      <a:pt x="0" y="421"/>
                    </a:lnTo>
                    <a:lnTo>
                      <a:pt x="0" y="420"/>
                    </a:lnTo>
                    <a:lnTo>
                      <a:pt x="0" y="419"/>
                    </a:lnTo>
                    <a:lnTo>
                      <a:pt x="3" y="419"/>
                    </a:lnTo>
                    <a:lnTo>
                      <a:pt x="4" y="420"/>
                    </a:lnTo>
                    <a:lnTo>
                      <a:pt x="6" y="424"/>
                    </a:lnTo>
                    <a:lnTo>
                      <a:pt x="7" y="426"/>
                    </a:lnTo>
                    <a:lnTo>
                      <a:pt x="8" y="424"/>
                    </a:lnTo>
                    <a:lnTo>
                      <a:pt x="10" y="421"/>
                    </a:lnTo>
                    <a:lnTo>
                      <a:pt x="11" y="416"/>
                    </a:lnTo>
                    <a:lnTo>
                      <a:pt x="11" y="412"/>
                    </a:lnTo>
                    <a:lnTo>
                      <a:pt x="10" y="406"/>
                    </a:lnTo>
                    <a:lnTo>
                      <a:pt x="10" y="402"/>
                    </a:lnTo>
                    <a:lnTo>
                      <a:pt x="10" y="400"/>
                    </a:lnTo>
                    <a:lnTo>
                      <a:pt x="13" y="396"/>
                    </a:lnTo>
                    <a:lnTo>
                      <a:pt x="13" y="393"/>
                    </a:lnTo>
                    <a:lnTo>
                      <a:pt x="14" y="391"/>
                    </a:lnTo>
                    <a:lnTo>
                      <a:pt x="15" y="389"/>
                    </a:lnTo>
                    <a:lnTo>
                      <a:pt x="17" y="389"/>
                    </a:lnTo>
                    <a:lnTo>
                      <a:pt x="18" y="389"/>
                    </a:lnTo>
                    <a:lnTo>
                      <a:pt x="21" y="386"/>
                    </a:lnTo>
                    <a:lnTo>
                      <a:pt x="22" y="384"/>
                    </a:lnTo>
                    <a:lnTo>
                      <a:pt x="24" y="382"/>
                    </a:lnTo>
                    <a:lnTo>
                      <a:pt x="24" y="377"/>
                    </a:lnTo>
                    <a:lnTo>
                      <a:pt x="24" y="374"/>
                    </a:lnTo>
                    <a:lnTo>
                      <a:pt x="25" y="373"/>
                    </a:lnTo>
                    <a:lnTo>
                      <a:pt x="25" y="370"/>
                    </a:lnTo>
                    <a:lnTo>
                      <a:pt x="25" y="366"/>
                    </a:lnTo>
                    <a:lnTo>
                      <a:pt x="24" y="360"/>
                    </a:lnTo>
                    <a:lnTo>
                      <a:pt x="21" y="353"/>
                    </a:lnTo>
                    <a:lnTo>
                      <a:pt x="21" y="349"/>
                    </a:lnTo>
                    <a:lnTo>
                      <a:pt x="21" y="347"/>
                    </a:lnTo>
                    <a:lnTo>
                      <a:pt x="24" y="347"/>
                    </a:lnTo>
                    <a:lnTo>
                      <a:pt x="28" y="347"/>
                    </a:lnTo>
                    <a:lnTo>
                      <a:pt x="28" y="346"/>
                    </a:lnTo>
                    <a:lnTo>
                      <a:pt x="28" y="345"/>
                    </a:lnTo>
                    <a:lnTo>
                      <a:pt x="29" y="342"/>
                    </a:lnTo>
                    <a:lnTo>
                      <a:pt x="31" y="341"/>
                    </a:lnTo>
                    <a:lnTo>
                      <a:pt x="31" y="338"/>
                    </a:lnTo>
                    <a:lnTo>
                      <a:pt x="31" y="335"/>
                    </a:lnTo>
                    <a:lnTo>
                      <a:pt x="29" y="332"/>
                    </a:lnTo>
                    <a:lnTo>
                      <a:pt x="27" y="328"/>
                    </a:lnTo>
                    <a:lnTo>
                      <a:pt x="24" y="327"/>
                    </a:lnTo>
                    <a:lnTo>
                      <a:pt x="21" y="324"/>
                    </a:lnTo>
                    <a:lnTo>
                      <a:pt x="18" y="321"/>
                    </a:lnTo>
                    <a:lnTo>
                      <a:pt x="20" y="311"/>
                    </a:lnTo>
                    <a:lnTo>
                      <a:pt x="21" y="304"/>
                    </a:lnTo>
                    <a:lnTo>
                      <a:pt x="21" y="303"/>
                    </a:lnTo>
                    <a:lnTo>
                      <a:pt x="21" y="300"/>
                    </a:lnTo>
                    <a:lnTo>
                      <a:pt x="17" y="288"/>
                    </a:lnTo>
                    <a:lnTo>
                      <a:pt x="17" y="285"/>
                    </a:lnTo>
                    <a:lnTo>
                      <a:pt x="18" y="282"/>
                    </a:lnTo>
                    <a:lnTo>
                      <a:pt x="17" y="278"/>
                    </a:lnTo>
                    <a:lnTo>
                      <a:pt x="17" y="275"/>
                    </a:lnTo>
                    <a:lnTo>
                      <a:pt x="18" y="274"/>
                    </a:lnTo>
                    <a:lnTo>
                      <a:pt x="20" y="271"/>
                    </a:lnTo>
                    <a:lnTo>
                      <a:pt x="18" y="268"/>
                    </a:lnTo>
                    <a:lnTo>
                      <a:pt x="18" y="268"/>
                    </a:lnTo>
                    <a:lnTo>
                      <a:pt x="15" y="260"/>
                    </a:lnTo>
                    <a:lnTo>
                      <a:pt x="20" y="251"/>
                    </a:lnTo>
                    <a:lnTo>
                      <a:pt x="18" y="247"/>
                    </a:lnTo>
                    <a:lnTo>
                      <a:pt x="21" y="244"/>
                    </a:lnTo>
                    <a:lnTo>
                      <a:pt x="25" y="237"/>
                    </a:lnTo>
                    <a:lnTo>
                      <a:pt x="27" y="233"/>
                    </a:lnTo>
                    <a:lnTo>
                      <a:pt x="28" y="233"/>
                    </a:lnTo>
                    <a:lnTo>
                      <a:pt x="29" y="230"/>
                    </a:lnTo>
                    <a:lnTo>
                      <a:pt x="34" y="229"/>
                    </a:lnTo>
                    <a:lnTo>
                      <a:pt x="36" y="228"/>
                    </a:lnTo>
                    <a:lnTo>
                      <a:pt x="39" y="228"/>
                    </a:lnTo>
                    <a:lnTo>
                      <a:pt x="46" y="229"/>
                    </a:lnTo>
                    <a:lnTo>
                      <a:pt x="50" y="230"/>
                    </a:lnTo>
                    <a:lnTo>
                      <a:pt x="52" y="229"/>
                    </a:lnTo>
                    <a:lnTo>
                      <a:pt x="53" y="226"/>
                    </a:lnTo>
                    <a:lnTo>
                      <a:pt x="54" y="223"/>
                    </a:lnTo>
                    <a:lnTo>
                      <a:pt x="54" y="221"/>
                    </a:lnTo>
                    <a:lnTo>
                      <a:pt x="53" y="215"/>
                    </a:lnTo>
                    <a:lnTo>
                      <a:pt x="53" y="211"/>
                    </a:lnTo>
                    <a:lnTo>
                      <a:pt x="49" y="210"/>
                    </a:lnTo>
                    <a:lnTo>
                      <a:pt x="45" y="207"/>
                    </a:lnTo>
                    <a:lnTo>
                      <a:pt x="50" y="197"/>
                    </a:lnTo>
                    <a:lnTo>
                      <a:pt x="53" y="191"/>
                    </a:lnTo>
                    <a:lnTo>
                      <a:pt x="57" y="182"/>
                    </a:lnTo>
                    <a:lnTo>
                      <a:pt x="59" y="177"/>
                    </a:lnTo>
                    <a:lnTo>
                      <a:pt x="60" y="176"/>
                    </a:lnTo>
                    <a:lnTo>
                      <a:pt x="61" y="161"/>
                    </a:lnTo>
                    <a:lnTo>
                      <a:pt x="63" y="157"/>
                    </a:lnTo>
                    <a:lnTo>
                      <a:pt x="63" y="154"/>
                    </a:lnTo>
                    <a:lnTo>
                      <a:pt x="63" y="152"/>
                    </a:lnTo>
                    <a:lnTo>
                      <a:pt x="63" y="148"/>
                    </a:lnTo>
                    <a:lnTo>
                      <a:pt x="61" y="138"/>
                    </a:lnTo>
                    <a:lnTo>
                      <a:pt x="68" y="138"/>
                    </a:lnTo>
                    <a:lnTo>
                      <a:pt x="70" y="137"/>
                    </a:lnTo>
                    <a:lnTo>
                      <a:pt x="73" y="137"/>
                    </a:lnTo>
                    <a:lnTo>
                      <a:pt x="77" y="134"/>
                    </a:lnTo>
                    <a:lnTo>
                      <a:pt x="78" y="131"/>
                    </a:lnTo>
                    <a:lnTo>
                      <a:pt x="77" y="123"/>
                    </a:lnTo>
                    <a:lnTo>
                      <a:pt x="80" y="120"/>
                    </a:lnTo>
                    <a:lnTo>
                      <a:pt x="85" y="111"/>
                    </a:lnTo>
                    <a:lnTo>
                      <a:pt x="92" y="101"/>
                    </a:lnTo>
                    <a:lnTo>
                      <a:pt x="95" y="97"/>
                    </a:lnTo>
                    <a:lnTo>
                      <a:pt x="95" y="95"/>
                    </a:lnTo>
                    <a:lnTo>
                      <a:pt x="96" y="92"/>
                    </a:lnTo>
                    <a:lnTo>
                      <a:pt x="95" y="88"/>
                    </a:lnTo>
                    <a:lnTo>
                      <a:pt x="93" y="85"/>
                    </a:lnTo>
                    <a:lnTo>
                      <a:pt x="91" y="80"/>
                    </a:lnTo>
                    <a:lnTo>
                      <a:pt x="91" y="76"/>
                    </a:lnTo>
                    <a:lnTo>
                      <a:pt x="93" y="74"/>
                    </a:lnTo>
                    <a:lnTo>
                      <a:pt x="96" y="73"/>
                    </a:lnTo>
                    <a:lnTo>
                      <a:pt x="98" y="70"/>
                    </a:lnTo>
                    <a:lnTo>
                      <a:pt x="99" y="70"/>
                    </a:lnTo>
                    <a:lnTo>
                      <a:pt x="102" y="58"/>
                    </a:lnTo>
                    <a:lnTo>
                      <a:pt x="109" y="51"/>
                    </a:lnTo>
                    <a:lnTo>
                      <a:pt x="112" y="46"/>
                    </a:lnTo>
                    <a:lnTo>
                      <a:pt x="116" y="49"/>
                    </a:lnTo>
                    <a:lnTo>
                      <a:pt x="123" y="53"/>
                    </a:lnTo>
                    <a:lnTo>
                      <a:pt x="125" y="48"/>
                    </a:lnTo>
                    <a:lnTo>
                      <a:pt x="127" y="45"/>
                    </a:lnTo>
                    <a:lnTo>
                      <a:pt x="127" y="42"/>
                    </a:lnTo>
                    <a:lnTo>
                      <a:pt x="127" y="37"/>
                    </a:lnTo>
                    <a:lnTo>
                      <a:pt x="127" y="30"/>
                    </a:lnTo>
                    <a:lnTo>
                      <a:pt x="127" y="26"/>
                    </a:lnTo>
                    <a:lnTo>
                      <a:pt x="130" y="24"/>
                    </a:lnTo>
                    <a:lnTo>
                      <a:pt x="131" y="24"/>
                    </a:lnTo>
                    <a:lnTo>
                      <a:pt x="138" y="27"/>
                    </a:lnTo>
                    <a:lnTo>
                      <a:pt x="139" y="27"/>
                    </a:lnTo>
                    <a:lnTo>
                      <a:pt x="144" y="28"/>
                    </a:lnTo>
                    <a:lnTo>
                      <a:pt x="146" y="30"/>
                    </a:lnTo>
                    <a:lnTo>
                      <a:pt x="155" y="33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2" y="33"/>
                    </a:lnTo>
                    <a:lnTo>
                      <a:pt x="164" y="28"/>
                    </a:lnTo>
                    <a:lnTo>
                      <a:pt x="160" y="26"/>
                    </a:lnTo>
                    <a:lnTo>
                      <a:pt x="163" y="23"/>
                    </a:lnTo>
                    <a:lnTo>
                      <a:pt x="164" y="19"/>
                    </a:lnTo>
                    <a:lnTo>
                      <a:pt x="166" y="14"/>
                    </a:lnTo>
                    <a:lnTo>
                      <a:pt x="167" y="10"/>
                    </a:lnTo>
                    <a:lnTo>
                      <a:pt x="166" y="7"/>
                    </a:lnTo>
                    <a:lnTo>
                      <a:pt x="166" y="6"/>
                    </a:lnTo>
                    <a:lnTo>
                      <a:pt x="163" y="2"/>
                    </a:lnTo>
                    <a:lnTo>
                      <a:pt x="169" y="0"/>
                    </a:lnTo>
                    <a:lnTo>
                      <a:pt x="171" y="0"/>
                    </a:lnTo>
                    <a:lnTo>
                      <a:pt x="177" y="3"/>
                    </a:lnTo>
                    <a:lnTo>
                      <a:pt x="177" y="5"/>
                    </a:lnTo>
                    <a:lnTo>
                      <a:pt x="177" y="6"/>
                    </a:lnTo>
                    <a:lnTo>
                      <a:pt x="177" y="7"/>
                    </a:lnTo>
                    <a:lnTo>
                      <a:pt x="181" y="12"/>
                    </a:lnTo>
                    <a:lnTo>
                      <a:pt x="183" y="13"/>
                    </a:lnTo>
                    <a:lnTo>
                      <a:pt x="187" y="16"/>
                    </a:lnTo>
                    <a:lnTo>
                      <a:pt x="187" y="19"/>
                    </a:lnTo>
                    <a:lnTo>
                      <a:pt x="190" y="20"/>
                    </a:lnTo>
                    <a:lnTo>
                      <a:pt x="192" y="21"/>
                    </a:lnTo>
                    <a:lnTo>
                      <a:pt x="194" y="24"/>
                    </a:lnTo>
                    <a:lnTo>
                      <a:pt x="197" y="27"/>
                    </a:lnTo>
                    <a:lnTo>
                      <a:pt x="201" y="28"/>
                    </a:lnTo>
                    <a:lnTo>
                      <a:pt x="203" y="30"/>
                    </a:lnTo>
                    <a:lnTo>
                      <a:pt x="210" y="33"/>
                    </a:lnTo>
                    <a:lnTo>
                      <a:pt x="212" y="34"/>
                    </a:lnTo>
                    <a:lnTo>
                      <a:pt x="215" y="37"/>
                    </a:lnTo>
                    <a:lnTo>
                      <a:pt x="216" y="40"/>
                    </a:lnTo>
                    <a:lnTo>
                      <a:pt x="219" y="45"/>
                    </a:lnTo>
                    <a:lnTo>
                      <a:pt x="220" y="45"/>
                    </a:lnTo>
                    <a:lnTo>
                      <a:pt x="222" y="48"/>
                    </a:lnTo>
                    <a:lnTo>
                      <a:pt x="223" y="51"/>
                    </a:lnTo>
                    <a:lnTo>
                      <a:pt x="226" y="55"/>
                    </a:lnTo>
                    <a:lnTo>
                      <a:pt x="226" y="55"/>
                    </a:lnTo>
                    <a:lnTo>
                      <a:pt x="224" y="58"/>
                    </a:lnTo>
                    <a:lnTo>
                      <a:pt x="223" y="62"/>
                    </a:lnTo>
                    <a:lnTo>
                      <a:pt x="224" y="66"/>
                    </a:lnTo>
                    <a:lnTo>
                      <a:pt x="224" y="70"/>
                    </a:lnTo>
                    <a:lnTo>
                      <a:pt x="224" y="72"/>
                    </a:lnTo>
                    <a:lnTo>
                      <a:pt x="224" y="73"/>
                    </a:lnTo>
                    <a:lnTo>
                      <a:pt x="223" y="76"/>
                    </a:lnTo>
                    <a:lnTo>
                      <a:pt x="223" y="77"/>
                    </a:lnTo>
                    <a:lnTo>
                      <a:pt x="223" y="77"/>
                    </a:lnTo>
                    <a:lnTo>
                      <a:pt x="223" y="79"/>
                    </a:lnTo>
                    <a:lnTo>
                      <a:pt x="224" y="79"/>
                    </a:lnTo>
                    <a:lnTo>
                      <a:pt x="227" y="79"/>
                    </a:lnTo>
                    <a:lnTo>
                      <a:pt x="229" y="80"/>
                    </a:lnTo>
                    <a:lnTo>
                      <a:pt x="229" y="84"/>
                    </a:lnTo>
                    <a:lnTo>
                      <a:pt x="229" y="85"/>
                    </a:lnTo>
                    <a:lnTo>
                      <a:pt x="227" y="87"/>
                    </a:lnTo>
                    <a:lnTo>
                      <a:pt x="226" y="88"/>
                    </a:lnTo>
                    <a:lnTo>
                      <a:pt x="226" y="91"/>
                    </a:lnTo>
                    <a:lnTo>
                      <a:pt x="227" y="94"/>
                    </a:lnTo>
                    <a:lnTo>
                      <a:pt x="227" y="97"/>
                    </a:lnTo>
                    <a:lnTo>
                      <a:pt x="229" y="99"/>
                    </a:lnTo>
                    <a:lnTo>
                      <a:pt x="230" y="102"/>
                    </a:lnTo>
                    <a:lnTo>
                      <a:pt x="231" y="105"/>
                    </a:lnTo>
                    <a:lnTo>
                      <a:pt x="233" y="106"/>
                    </a:lnTo>
                    <a:lnTo>
                      <a:pt x="233" y="108"/>
                    </a:lnTo>
                    <a:lnTo>
                      <a:pt x="231" y="109"/>
                    </a:lnTo>
                    <a:lnTo>
                      <a:pt x="231" y="113"/>
                    </a:lnTo>
                    <a:lnTo>
                      <a:pt x="231" y="116"/>
                    </a:lnTo>
                    <a:lnTo>
                      <a:pt x="230" y="119"/>
                    </a:lnTo>
                    <a:lnTo>
                      <a:pt x="229" y="122"/>
                    </a:lnTo>
                    <a:lnTo>
                      <a:pt x="227" y="123"/>
                    </a:lnTo>
                    <a:lnTo>
                      <a:pt x="227" y="125"/>
                    </a:lnTo>
                    <a:lnTo>
                      <a:pt x="227" y="127"/>
                    </a:lnTo>
                    <a:lnTo>
                      <a:pt x="227" y="131"/>
                    </a:lnTo>
                    <a:lnTo>
                      <a:pt x="227" y="134"/>
                    </a:lnTo>
                    <a:lnTo>
                      <a:pt x="229" y="136"/>
                    </a:lnTo>
                    <a:lnTo>
                      <a:pt x="229" y="136"/>
                    </a:lnTo>
                    <a:lnTo>
                      <a:pt x="231" y="138"/>
                    </a:lnTo>
                    <a:lnTo>
                      <a:pt x="233" y="143"/>
                    </a:lnTo>
                    <a:lnTo>
                      <a:pt x="234" y="145"/>
                    </a:lnTo>
                    <a:lnTo>
                      <a:pt x="236" y="154"/>
                    </a:lnTo>
                    <a:close/>
                    <a:moveTo>
                      <a:pt x="135" y="405"/>
                    </a:moveTo>
                    <a:lnTo>
                      <a:pt x="134" y="406"/>
                    </a:lnTo>
                    <a:lnTo>
                      <a:pt x="134" y="405"/>
                    </a:lnTo>
                    <a:lnTo>
                      <a:pt x="134" y="405"/>
                    </a:lnTo>
                    <a:lnTo>
                      <a:pt x="134" y="403"/>
                    </a:lnTo>
                    <a:lnTo>
                      <a:pt x="135" y="402"/>
                    </a:lnTo>
                    <a:lnTo>
                      <a:pt x="137" y="402"/>
                    </a:lnTo>
                    <a:lnTo>
                      <a:pt x="137" y="403"/>
                    </a:lnTo>
                    <a:lnTo>
                      <a:pt x="135" y="403"/>
                    </a:lnTo>
                    <a:lnTo>
                      <a:pt x="135" y="405"/>
                    </a:lnTo>
                    <a:close/>
                    <a:moveTo>
                      <a:pt x="131" y="420"/>
                    </a:moveTo>
                    <a:lnTo>
                      <a:pt x="131" y="420"/>
                    </a:lnTo>
                    <a:lnTo>
                      <a:pt x="131" y="420"/>
                    </a:lnTo>
                    <a:lnTo>
                      <a:pt x="131" y="419"/>
                    </a:lnTo>
                    <a:lnTo>
                      <a:pt x="131" y="419"/>
                    </a:lnTo>
                    <a:lnTo>
                      <a:pt x="132" y="417"/>
                    </a:lnTo>
                    <a:lnTo>
                      <a:pt x="132" y="417"/>
                    </a:lnTo>
                    <a:lnTo>
                      <a:pt x="131" y="420"/>
                    </a:lnTo>
                    <a:close/>
                    <a:moveTo>
                      <a:pt x="145" y="459"/>
                    </a:moveTo>
                    <a:lnTo>
                      <a:pt x="145" y="460"/>
                    </a:lnTo>
                    <a:lnTo>
                      <a:pt x="144" y="460"/>
                    </a:lnTo>
                    <a:lnTo>
                      <a:pt x="144" y="459"/>
                    </a:lnTo>
                    <a:lnTo>
                      <a:pt x="145" y="456"/>
                    </a:lnTo>
                    <a:lnTo>
                      <a:pt x="148" y="456"/>
                    </a:lnTo>
                    <a:lnTo>
                      <a:pt x="148" y="458"/>
                    </a:lnTo>
                    <a:lnTo>
                      <a:pt x="145" y="459"/>
                    </a:lnTo>
                    <a:close/>
                    <a:moveTo>
                      <a:pt x="144" y="462"/>
                    </a:moveTo>
                    <a:lnTo>
                      <a:pt x="142" y="462"/>
                    </a:lnTo>
                    <a:lnTo>
                      <a:pt x="141" y="465"/>
                    </a:lnTo>
                    <a:lnTo>
                      <a:pt x="139" y="466"/>
                    </a:lnTo>
                    <a:lnTo>
                      <a:pt x="139" y="466"/>
                    </a:lnTo>
                    <a:lnTo>
                      <a:pt x="138" y="473"/>
                    </a:lnTo>
                    <a:lnTo>
                      <a:pt x="141" y="477"/>
                    </a:lnTo>
                    <a:lnTo>
                      <a:pt x="139" y="477"/>
                    </a:lnTo>
                    <a:lnTo>
                      <a:pt x="138" y="477"/>
                    </a:lnTo>
                    <a:lnTo>
                      <a:pt x="138" y="478"/>
                    </a:lnTo>
                    <a:lnTo>
                      <a:pt x="137" y="481"/>
                    </a:lnTo>
                    <a:lnTo>
                      <a:pt x="134" y="483"/>
                    </a:lnTo>
                    <a:lnTo>
                      <a:pt x="132" y="484"/>
                    </a:lnTo>
                    <a:lnTo>
                      <a:pt x="131" y="487"/>
                    </a:lnTo>
                    <a:lnTo>
                      <a:pt x="130" y="491"/>
                    </a:lnTo>
                    <a:lnTo>
                      <a:pt x="128" y="492"/>
                    </a:lnTo>
                    <a:lnTo>
                      <a:pt x="127" y="492"/>
                    </a:lnTo>
                    <a:lnTo>
                      <a:pt x="128" y="490"/>
                    </a:lnTo>
                    <a:lnTo>
                      <a:pt x="130" y="487"/>
                    </a:lnTo>
                    <a:lnTo>
                      <a:pt x="128" y="485"/>
                    </a:lnTo>
                    <a:lnTo>
                      <a:pt x="127" y="483"/>
                    </a:lnTo>
                    <a:lnTo>
                      <a:pt x="125" y="481"/>
                    </a:lnTo>
                    <a:lnTo>
                      <a:pt x="127" y="478"/>
                    </a:lnTo>
                    <a:lnTo>
                      <a:pt x="127" y="474"/>
                    </a:lnTo>
                    <a:lnTo>
                      <a:pt x="127" y="471"/>
                    </a:lnTo>
                    <a:lnTo>
                      <a:pt x="128" y="469"/>
                    </a:lnTo>
                    <a:lnTo>
                      <a:pt x="130" y="467"/>
                    </a:lnTo>
                    <a:lnTo>
                      <a:pt x="131" y="465"/>
                    </a:lnTo>
                    <a:lnTo>
                      <a:pt x="134" y="462"/>
                    </a:lnTo>
                    <a:lnTo>
                      <a:pt x="137" y="460"/>
                    </a:lnTo>
                    <a:lnTo>
                      <a:pt x="139" y="462"/>
                    </a:lnTo>
                    <a:lnTo>
                      <a:pt x="139" y="459"/>
                    </a:lnTo>
                    <a:lnTo>
                      <a:pt x="141" y="459"/>
                    </a:lnTo>
                    <a:lnTo>
                      <a:pt x="141" y="459"/>
                    </a:lnTo>
                    <a:lnTo>
                      <a:pt x="144" y="462"/>
                    </a:lnTo>
                    <a:close/>
                    <a:moveTo>
                      <a:pt x="98" y="513"/>
                    </a:moveTo>
                    <a:lnTo>
                      <a:pt x="96" y="515"/>
                    </a:lnTo>
                    <a:lnTo>
                      <a:pt x="96" y="515"/>
                    </a:lnTo>
                    <a:lnTo>
                      <a:pt x="95" y="512"/>
                    </a:lnTo>
                    <a:lnTo>
                      <a:pt x="95" y="506"/>
                    </a:lnTo>
                    <a:lnTo>
                      <a:pt x="95" y="504"/>
                    </a:lnTo>
                    <a:lnTo>
                      <a:pt x="99" y="494"/>
                    </a:lnTo>
                    <a:lnTo>
                      <a:pt x="100" y="492"/>
                    </a:lnTo>
                    <a:lnTo>
                      <a:pt x="103" y="487"/>
                    </a:lnTo>
                    <a:lnTo>
                      <a:pt x="105" y="484"/>
                    </a:lnTo>
                    <a:lnTo>
                      <a:pt x="105" y="481"/>
                    </a:lnTo>
                    <a:lnTo>
                      <a:pt x="106" y="478"/>
                    </a:lnTo>
                    <a:lnTo>
                      <a:pt x="106" y="478"/>
                    </a:lnTo>
                    <a:lnTo>
                      <a:pt x="107" y="478"/>
                    </a:lnTo>
                    <a:lnTo>
                      <a:pt x="109" y="478"/>
                    </a:lnTo>
                    <a:lnTo>
                      <a:pt x="107" y="480"/>
                    </a:lnTo>
                    <a:lnTo>
                      <a:pt x="107" y="483"/>
                    </a:lnTo>
                    <a:lnTo>
                      <a:pt x="107" y="483"/>
                    </a:lnTo>
                    <a:lnTo>
                      <a:pt x="103" y="490"/>
                    </a:lnTo>
                    <a:lnTo>
                      <a:pt x="103" y="495"/>
                    </a:lnTo>
                    <a:lnTo>
                      <a:pt x="102" y="497"/>
                    </a:lnTo>
                    <a:lnTo>
                      <a:pt x="98" y="513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23" name="Slovenia">
                <a:extLst>
                  <a:ext uri="{FF2B5EF4-FFF2-40B4-BE49-F238E27FC236}">
                    <a16:creationId xmlns:a16="http://schemas.microsoft.com/office/drawing/2014/main" id="{05A18228-6395-4249-62F2-27C59D091F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6122" y="2775505"/>
                <a:ext cx="45361" cy="29720"/>
              </a:xfrm>
              <a:custGeom>
                <a:avLst/>
                <a:gdLst>
                  <a:gd name="T0" fmla="*/ 53 w 58"/>
                  <a:gd name="T1" fmla="*/ 9 h 38"/>
                  <a:gd name="T2" fmla="*/ 52 w 58"/>
                  <a:gd name="T3" fmla="*/ 10 h 38"/>
                  <a:gd name="T4" fmla="*/ 49 w 58"/>
                  <a:gd name="T5" fmla="*/ 13 h 38"/>
                  <a:gd name="T6" fmla="*/ 46 w 58"/>
                  <a:gd name="T7" fmla="*/ 16 h 38"/>
                  <a:gd name="T8" fmla="*/ 42 w 58"/>
                  <a:gd name="T9" fmla="*/ 17 h 38"/>
                  <a:gd name="T10" fmla="*/ 41 w 58"/>
                  <a:gd name="T11" fmla="*/ 20 h 38"/>
                  <a:gd name="T12" fmla="*/ 42 w 58"/>
                  <a:gd name="T13" fmla="*/ 24 h 38"/>
                  <a:gd name="T14" fmla="*/ 41 w 58"/>
                  <a:gd name="T15" fmla="*/ 27 h 38"/>
                  <a:gd name="T16" fmla="*/ 34 w 58"/>
                  <a:gd name="T17" fmla="*/ 31 h 38"/>
                  <a:gd name="T18" fmla="*/ 35 w 58"/>
                  <a:gd name="T19" fmla="*/ 34 h 38"/>
                  <a:gd name="T20" fmla="*/ 35 w 58"/>
                  <a:gd name="T21" fmla="*/ 36 h 38"/>
                  <a:gd name="T22" fmla="*/ 31 w 58"/>
                  <a:gd name="T23" fmla="*/ 38 h 38"/>
                  <a:gd name="T24" fmla="*/ 27 w 58"/>
                  <a:gd name="T25" fmla="*/ 36 h 38"/>
                  <a:gd name="T26" fmla="*/ 23 w 58"/>
                  <a:gd name="T27" fmla="*/ 34 h 38"/>
                  <a:gd name="T28" fmla="*/ 21 w 58"/>
                  <a:gd name="T29" fmla="*/ 32 h 38"/>
                  <a:gd name="T30" fmla="*/ 19 w 58"/>
                  <a:gd name="T31" fmla="*/ 36 h 38"/>
                  <a:gd name="T32" fmla="*/ 14 w 58"/>
                  <a:gd name="T33" fmla="*/ 36 h 38"/>
                  <a:gd name="T34" fmla="*/ 10 w 58"/>
                  <a:gd name="T35" fmla="*/ 36 h 38"/>
                  <a:gd name="T36" fmla="*/ 9 w 58"/>
                  <a:gd name="T37" fmla="*/ 38 h 38"/>
                  <a:gd name="T38" fmla="*/ 5 w 58"/>
                  <a:gd name="T39" fmla="*/ 35 h 38"/>
                  <a:gd name="T40" fmla="*/ 9 w 58"/>
                  <a:gd name="T41" fmla="*/ 34 h 38"/>
                  <a:gd name="T42" fmla="*/ 6 w 58"/>
                  <a:gd name="T43" fmla="*/ 29 h 38"/>
                  <a:gd name="T44" fmla="*/ 3 w 58"/>
                  <a:gd name="T45" fmla="*/ 27 h 38"/>
                  <a:gd name="T46" fmla="*/ 2 w 58"/>
                  <a:gd name="T47" fmla="*/ 24 h 38"/>
                  <a:gd name="T48" fmla="*/ 2 w 58"/>
                  <a:gd name="T49" fmla="*/ 23 h 38"/>
                  <a:gd name="T50" fmla="*/ 5 w 58"/>
                  <a:gd name="T51" fmla="*/ 18 h 38"/>
                  <a:gd name="T52" fmla="*/ 2 w 58"/>
                  <a:gd name="T53" fmla="*/ 17 h 38"/>
                  <a:gd name="T54" fmla="*/ 0 w 58"/>
                  <a:gd name="T55" fmla="*/ 17 h 38"/>
                  <a:gd name="T56" fmla="*/ 2 w 58"/>
                  <a:gd name="T57" fmla="*/ 13 h 38"/>
                  <a:gd name="T58" fmla="*/ 6 w 58"/>
                  <a:gd name="T59" fmla="*/ 11 h 38"/>
                  <a:gd name="T60" fmla="*/ 9 w 58"/>
                  <a:gd name="T61" fmla="*/ 10 h 38"/>
                  <a:gd name="T62" fmla="*/ 13 w 58"/>
                  <a:gd name="T63" fmla="*/ 11 h 38"/>
                  <a:gd name="T64" fmla="*/ 20 w 58"/>
                  <a:gd name="T65" fmla="*/ 13 h 38"/>
                  <a:gd name="T66" fmla="*/ 21 w 58"/>
                  <a:gd name="T67" fmla="*/ 13 h 38"/>
                  <a:gd name="T68" fmla="*/ 26 w 58"/>
                  <a:gd name="T69" fmla="*/ 10 h 38"/>
                  <a:gd name="T70" fmla="*/ 28 w 58"/>
                  <a:gd name="T71" fmla="*/ 7 h 38"/>
                  <a:gd name="T72" fmla="*/ 34 w 58"/>
                  <a:gd name="T73" fmla="*/ 6 h 38"/>
                  <a:gd name="T74" fmla="*/ 41 w 58"/>
                  <a:gd name="T75" fmla="*/ 4 h 38"/>
                  <a:gd name="T76" fmla="*/ 46 w 58"/>
                  <a:gd name="T77" fmla="*/ 6 h 38"/>
                  <a:gd name="T78" fmla="*/ 48 w 58"/>
                  <a:gd name="T79" fmla="*/ 2 h 38"/>
                  <a:gd name="T80" fmla="*/ 53 w 58"/>
                  <a:gd name="T81" fmla="*/ 0 h 38"/>
                  <a:gd name="T82" fmla="*/ 53 w 58"/>
                  <a:gd name="T83" fmla="*/ 4 h 38"/>
                  <a:gd name="T84" fmla="*/ 55 w 58"/>
                  <a:gd name="T85" fmla="*/ 6 h 38"/>
                  <a:gd name="T86" fmla="*/ 58 w 58"/>
                  <a:gd name="T87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8" h="38">
                    <a:moveTo>
                      <a:pt x="58" y="10"/>
                    </a:moveTo>
                    <a:lnTo>
                      <a:pt x="56" y="9"/>
                    </a:lnTo>
                    <a:lnTo>
                      <a:pt x="53" y="9"/>
                    </a:lnTo>
                    <a:lnTo>
                      <a:pt x="53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3"/>
                    </a:lnTo>
                    <a:lnTo>
                      <a:pt x="52" y="13"/>
                    </a:lnTo>
                    <a:lnTo>
                      <a:pt x="49" y="13"/>
                    </a:lnTo>
                    <a:lnTo>
                      <a:pt x="49" y="13"/>
                    </a:lnTo>
                    <a:lnTo>
                      <a:pt x="48" y="16"/>
                    </a:lnTo>
                    <a:lnTo>
                      <a:pt x="46" y="16"/>
                    </a:lnTo>
                    <a:lnTo>
                      <a:pt x="45" y="17"/>
                    </a:lnTo>
                    <a:lnTo>
                      <a:pt x="44" y="17"/>
                    </a:lnTo>
                    <a:lnTo>
                      <a:pt x="42" y="17"/>
                    </a:lnTo>
                    <a:lnTo>
                      <a:pt x="41" y="18"/>
                    </a:lnTo>
                    <a:lnTo>
                      <a:pt x="41" y="18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42" y="21"/>
                    </a:lnTo>
                    <a:lnTo>
                      <a:pt x="42" y="24"/>
                    </a:lnTo>
                    <a:lnTo>
                      <a:pt x="42" y="25"/>
                    </a:lnTo>
                    <a:lnTo>
                      <a:pt x="41" y="27"/>
                    </a:lnTo>
                    <a:lnTo>
                      <a:pt x="41" y="27"/>
                    </a:lnTo>
                    <a:lnTo>
                      <a:pt x="38" y="28"/>
                    </a:lnTo>
                    <a:lnTo>
                      <a:pt x="35" y="29"/>
                    </a:lnTo>
                    <a:lnTo>
                      <a:pt x="34" y="31"/>
                    </a:lnTo>
                    <a:lnTo>
                      <a:pt x="37" y="32"/>
                    </a:lnTo>
                    <a:lnTo>
                      <a:pt x="37" y="32"/>
                    </a:lnTo>
                    <a:lnTo>
                      <a:pt x="35" y="34"/>
                    </a:lnTo>
                    <a:lnTo>
                      <a:pt x="35" y="34"/>
                    </a:lnTo>
                    <a:lnTo>
                      <a:pt x="35" y="35"/>
                    </a:lnTo>
                    <a:lnTo>
                      <a:pt x="35" y="36"/>
                    </a:lnTo>
                    <a:lnTo>
                      <a:pt x="35" y="36"/>
                    </a:lnTo>
                    <a:lnTo>
                      <a:pt x="34" y="38"/>
                    </a:lnTo>
                    <a:lnTo>
                      <a:pt x="31" y="38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7" y="36"/>
                    </a:lnTo>
                    <a:lnTo>
                      <a:pt x="26" y="36"/>
                    </a:lnTo>
                    <a:lnTo>
                      <a:pt x="24" y="35"/>
                    </a:lnTo>
                    <a:lnTo>
                      <a:pt x="23" y="34"/>
                    </a:lnTo>
                    <a:lnTo>
                      <a:pt x="23" y="34"/>
                    </a:lnTo>
                    <a:lnTo>
                      <a:pt x="23" y="32"/>
                    </a:lnTo>
                    <a:lnTo>
                      <a:pt x="21" y="32"/>
                    </a:lnTo>
                    <a:lnTo>
                      <a:pt x="21" y="32"/>
                    </a:lnTo>
                    <a:lnTo>
                      <a:pt x="20" y="34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17" y="36"/>
                    </a:lnTo>
                    <a:lnTo>
                      <a:pt x="14" y="36"/>
                    </a:lnTo>
                    <a:lnTo>
                      <a:pt x="13" y="36"/>
                    </a:lnTo>
                    <a:lnTo>
                      <a:pt x="12" y="35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8"/>
                    </a:lnTo>
                    <a:lnTo>
                      <a:pt x="9" y="38"/>
                    </a:lnTo>
                    <a:lnTo>
                      <a:pt x="5" y="36"/>
                    </a:lnTo>
                    <a:lnTo>
                      <a:pt x="3" y="35"/>
                    </a:lnTo>
                    <a:lnTo>
                      <a:pt x="5" y="35"/>
                    </a:lnTo>
                    <a:lnTo>
                      <a:pt x="6" y="34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9" y="34"/>
                    </a:lnTo>
                    <a:lnTo>
                      <a:pt x="9" y="31"/>
                    </a:lnTo>
                    <a:lnTo>
                      <a:pt x="6" y="29"/>
                    </a:lnTo>
                    <a:lnTo>
                      <a:pt x="5" y="28"/>
                    </a:lnTo>
                    <a:lnTo>
                      <a:pt x="3" y="28"/>
                    </a:lnTo>
                    <a:lnTo>
                      <a:pt x="3" y="27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3"/>
                    </a:lnTo>
                    <a:lnTo>
                      <a:pt x="2" y="23"/>
                    </a:lnTo>
                    <a:lnTo>
                      <a:pt x="3" y="21"/>
                    </a:lnTo>
                    <a:lnTo>
                      <a:pt x="5" y="20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3" y="18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5" y="11"/>
                    </a:lnTo>
                    <a:lnTo>
                      <a:pt x="6" y="11"/>
                    </a:lnTo>
                    <a:lnTo>
                      <a:pt x="6" y="10"/>
                    </a:lnTo>
                    <a:lnTo>
                      <a:pt x="7" y="10"/>
                    </a:lnTo>
                    <a:lnTo>
                      <a:pt x="9" y="10"/>
                    </a:lnTo>
                    <a:lnTo>
                      <a:pt x="10" y="10"/>
                    </a:lnTo>
                    <a:lnTo>
                      <a:pt x="12" y="10"/>
                    </a:lnTo>
                    <a:lnTo>
                      <a:pt x="13" y="11"/>
                    </a:lnTo>
                    <a:lnTo>
                      <a:pt x="16" y="11"/>
                    </a:lnTo>
                    <a:lnTo>
                      <a:pt x="19" y="11"/>
                    </a:lnTo>
                    <a:lnTo>
                      <a:pt x="20" y="13"/>
                    </a:lnTo>
                    <a:lnTo>
                      <a:pt x="20" y="13"/>
                    </a:lnTo>
                    <a:lnTo>
                      <a:pt x="21" y="13"/>
                    </a:lnTo>
                    <a:lnTo>
                      <a:pt x="21" y="13"/>
                    </a:lnTo>
                    <a:lnTo>
                      <a:pt x="23" y="11"/>
                    </a:lnTo>
                    <a:lnTo>
                      <a:pt x="24" y="11"/>
                    </a:lnTo>
                    <a:lnTo>
                      <a:pt x="26" y="10"/>
                    </a:lnTo>
                    <a:lnTo>
                      <a:pt x="26" y="9"/>
                    </a:lnTo>
                    <a:lnTo>
                      <a:pt x="27" y="7"/>
                    </a:lnTo>
                    <a:lnTo>
                      <a:pt x="28" y="7"/>
                    </a:lnTo>
                    <a:lnTo>
                      <a:pt x="28" y="7"/>
                    </a:lnTo>
                    <a:lnTo>
                      <a:pt x="30" y="7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0" y="6"/>
                    </a:lnTo>
                    <a:lnTo>
                      <a:pt x="41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6" y="6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2"/>
                    </a:lnTo>
                    <a:lnTo>
                      <a:pt x="48" y="0"/>
                    </a:lnTo>
                    <a:lnTo>
                      <a:pt x="49" y="0"/>
                    </a:lnTo>
                    <a:lnTo>
                      <a:pt x="53" y="0"/>
                    </a:lnTo>
                    <a:lnTo>
                      <a:pt x="53" y="2"/>
                    </a:lnTo>
                    <a:lnTo>
                      <a:pt x="53" y="3"/>
                    </a:lnTo>
                    <a:lnTo>
                      <a:pt x="53" y="4"/>
                    </a:lnTo>
                    <a:lnTo>
                      <a:pt x="55" y="4"/>
                    </a:lnTo>
                    <a:lnTo>
                      <a:pt x="55" y="6"/>
                    </a:lnTo>
                    <a:lnTo>
                      <a:pt x="55" y="6"/>
                    </a:lnTo>
                    <a:lnTo>
                      <a:pt x="55" y="7"/>
                    </a:lnTo>
                    <a:lnTo>
                      <a:pt x="58" y="10"/>
                    </a:lnTo>
                    <a:lnTo>
                      <a:pt x="58" y="10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25" name="Slovakia">
                <a:extLst>
                  <a:ext uri="{FF2B5EF4-FFF2-40B4-BE49-F238E27FC236}">
                    <a16:creationId xmlns:a16="http://schemas.microsoft.com/office/drawing/2014/main" id="{7B262A73-CCFF-75A7-224C-C7A4E74926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5394" y="2717629"/>
                <a:ext cx="80556" cy="39887"/>
              </a:xfrm>
              <a:custGeom>
                <a:avLst/>
                <a:gdLst>
                  <a:gd name="T0" fmla="*/ 102 w 103"/>
                  <a:gd name="T1" fmla="*/ 17 h 51"/>
                  <a:gd name="T2" fmla="*/ 99 w 103"/>
                  <a:gd name="T3" fmla="*/ 24 h 51"/>
                  <a:gd name="T4" fmla="*/ 96 w 103"/>
                  <a:gd name="T5" fmla="*/ 32 h 51"/>
                  <a:gd name="T6" fmla="*/ 89 w 103"/>
                  <a:gd name="T7" fmla="*/ 34 h 51"/>
                  <a:gd name="T8" fmla="*/ 87 w 103"/>
                  <a:gd name="T9" fmla="*/ 32 h 51"/>
                  <a:gd name="T10" fmla="*/ 85 w 103"/>
                  <a:gd name="T11" fmla="*/ 30 h 51"/>
                  <a:gd name="T12" fmla="*/ 80 w 103"/>
                  <a:gd name="T13" fmla="*/ 30 h 51"/>
                  <a:gd name="T14" fmla="*/ 73 w 103"/>
                  <a:gd name="T15" fmla="*/ 30 h 51"/>
                  <a:gd name="T16" fmla="*/ 66 w 103"/>
                  <a:gd name="T17" fmla="*/ 31 h 51"/>
                  <a:gd name="T18" fmla="*/ 56 w 103"/>
                  <a:gd name="T19" fmla="*/ 39 h 51"/>
                  <a:gd name="T20" fmla="*/ 52 w 103"/>
                  <a:gd name="T21" fmla="*/ 38 h 51"/>
                  <a:gd name="T22" fmla="*/ 49 w 103"/>
                  <a:gd name="T23" fmla="*/ 39 h 51"/>
                  <a:gd name="T24" fmla="*/ 38 w 103"/>
                  <a:gd name="T25" fmla="*/ 42 h 51"/>
                  <a:gd name="T26" fmla="*/ 35 w 103"/>
                  <a:gd name="T27" fmla="*/ 46 h 51"/>
                  <a:gd name="T28" fmla="*/ 34 w 103"/>
                  <a:gd name="T29" fmla="*/ 49 h 51"/>
                  <a:gd name="T30" fmla="*/ 20 w 103"/>
                  <a:gd name="T31" fmla="*/ 51 h 51"/>
                  <a:gd name="T32" fmla="*/ 11 w 103"/>
                  <a:gd name="T33" fmla="*/ 46 h 51"/>
                  <a:gd name="T34" fmla="*/ 9 w 103"/>
                  <a:gd name="T35" fmla="*/ 44 h 51"/>
                  <a:gd name="T36" fmla="*/ 4 w 103"/>
                  <a:gd name="T37" fmla="*/ 42 h 51"/>
                  <a:gd name="T38" fmla="*/ 0 w 103"/>
                  <a:gd name="T39" fmla="*/ 34 h 51"/>
                  <a:gd name="T40" fmla="*/ 2 w 103"/>
                  <a:gd name="T41" fmla="*/ 28 h 51"/>
                  <a:gd name="T42" fmla="*/ 3 w 103"/>
                  <a:gd name="T43" fmla="*/ 25 h 51"/>
                  <a:gd name="T44" fmla="*/ 6 w 103"/>
                  <a:gd name="T45" fmla="*/ 20 h 51"/>
                  <a:gd name="T46" fmla="*/ 14 w 103"/>
                  <a:gd name="T47" fmla="*/ 21 h 51"/>
                  <a:gd name="T48" fmla="*/ 20 w 103"/>
                  <a:gd name="T49" fmla="*/ 17 h 51"/>
                  <a:gd name="T50" fmla="*/ 22 w 103"/>
                  <a:gd name="T51" fmla="*/ 16 h 51"/>
                  <a:gd name="T52" fmla="*/ 22 w 103"/>
                  <a:gd name="T53" fmla="*/ 12 h 51"/>
                  <a:gd name="T54" fmla="*/ 28 w 103"/>
                  <a:gd name="T55" fmla="*/ 7 h 51"/>
                  <a:gd name="T56" fmla="*/ 29 w 103"/>
                  <a:gd name="T57" fmla="*/ 5 h 51"/>
                  <a:gd name="T58" fmla="*/ 34 w 103"/>
                  <a:gd name="T59" fmla="*/ 3 h 51"/>
                  <a:gd name="T60" fmla="*/ 36 w 103"/>
                  <a:gd name="T61" fmla="*/ 2 h 51"/>
                  <a:gd name="T62" fmla="*/ 39 w 103"/>
                  <a:gd name="T63" fmla="*/ 6 h 51"/>
                  <a:gd name="T64" fmla="*/ 45 w 103"/>
                  <a:gd name="T65" fmla="*/ 2 h 51"/>
                  <a:gd name="T66" fmla="*/ 48 w 103"/>
                  <a:gd name="T67" fmla="*/ 0 h 51"/>
                  <a:gd name="T68" fmla="*/ 50 w 103"/>
                  <a:gd name="T69" fmla="*/ 5 h 51"/>
                  <a:gd name="T70" fmla="*/ 53 w 103"/>
                  <a:gd name="T71" fmla="*/ 6 h 51"/>
                  <a:gd name="T72" fmla="*/ 53 w 103"/>
                  <a:gd name="T73" fmla="*/ 9 h 51"/>
                  <a:gd name="T74" fmla="*/ 55 w 103"/>
                  <a:gd name="T75" fmla="*/ 12 h 51"/>
                  <a:gd name="T76" fmla="*/ 59 w 103"/>
                  <a:gd name="T77" fmla="*/ 12 h 51"/>
                  <a:gd name="T78" fmla="*/ 61 w 103"/>
                  <a:gd name="T79" fmla="*/ 7 h 51"/>
                  <a:gd name="T80" fmla="*/ 64 w 103"/>
                  <a:gd name="T81" fmla="*/ 6 h 51"/>
                  <a:gd name="T82" fmla="*/ 67 w 103"/>
                  <a:gd name="T83" fmla="*/ 6 h 51"/>
                  <a:gd name="T84" fmla="*/ 73 w 103"/>
                  <a:gd name="T85" fmla="*/ 7 h 51"/>
                  <a:gd name="T86" fmla="*/ 75 w 103"/>
                  <a:gd name="T87" fmla="*/ 7 h 51"/>
                  <a:gd name="T88" fmla="*/ 80 w 103"/>
                  <a:gd name="T89" fmla="*/ 5 h 51"/>
                  <a:gd name="T90" fmla="*/ 88 w 103"/>
                  <a:gd name="T91" fmla="*/ 6 h 51"/>
                  <a:gd name="T92" fmla="*/ 94 w 103"/>
                  <a:gd name="T93" fmla="*/ 10 h 51"/>
                  <a:gd name="T94" fmla="*/ 102 w 103"/>
                  <a:gd name="T95" fmla="*/ 14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3" h="51">
                    <a:moveTo>
                      <a:pt x="103" y="14"/>
                    </a:moveTo>
                    <a:lnTo>
                      <a:pt x="103" y="16"/>
                    </a:lnTo>
                    <a:lnTo>
                      <a:pt x="102" y="17"/>
                    </a:lnTo>
                    <a:lnTo>
                      <a:pt x="102" y="18"/>
                    </a:lnTo>
                    <a:lnTo>
                      <a:pt x="100" y="20"/>
                    </a:lnTo>
                    <a:lnTo>
                      <a:pt x="99" y="24"/>
                    </a:lnTo>
                    <a:lnTo>
                      <a:pt x="99" y="25"/>
                    </a:lnTo>
                    <a:lnTo>
                      <a:pt x="96" y="28"/>
                    </a:lnTo>
                    <a:lnTo>
                      <a:pt x="96" y="32"/>
                    </a:lnTo>
                    <a:lnTo>
                      <a:pt x="96" y="34"/>
                    </a:lnTo>
                    <a:lnTo>
                      <a:pt x="89" y="35"/>
                    </a:lnTo>
                    <a:lnTo>
                      <a:pt x="89" y="34"/>
                    </a:lnTo>
                    <a:lnTo>
                      <a:pt x="88" y="34"/>
                    </a:lnTo>
                    <a:lnTo>
                      <a:pt x="88" y="32"/>
                    </a:lnTo>
                    <a:lnTo>
                      <a:pt x="87" y="32"/>
                    </a:lnTo>
                    <a:lnTo>
                      <a:pt x="87" y="31"/>
                    </a:lnTo>
                    <a:lnTo>
                      <a:pt x="85" y="31"/>
                    </a:lnTo>
                    <a:lnTo>
                      <a:pt x="85" y="30"/>
                    </a:lnTo>
                    <a:lnTo>
                      <a:pt x="84" y="28"/>
                    </a:lnTo>
                    <a:lnTo>
                      <a:pt x="82" y="28"/>
                    </a:lnTo>
                    <a:lnTo>
                      <a:pt x="80" y="30"/>
                    </a:lnTo>
                    <a:lnTo>
                      <a:pt x="77" y="30"/>
                    </a:lnTo>
                    <a:lnTo>
                      <a:pt x="75" y="30"/>
                    </a:lnTo>
                    <a:lnTo>
                      <a:pt x="73" y="30"/>
                    </a:lnTo>
                    <a:lnTo>
                      <a:pt x="68" y="28"/>
                    </a:lnTo>
                    <a:lnTo>
                      <a:pt x="66" y="30"/>
                    </a:lnTo>
                    <a:lnTo>
                      <a:pt x="66" y="31"/>
                    </a:lnTo>
                    <a:lnTo>
                      <a:pt x="63" y="35"/>
                    </a:lnTo>
                    <a:lnTo>
                      <a:pt x="60" y="38"/>
                    </a:lnTo>
                    <a:lnTo>
                      <a:pt x="56" y="39"/>
                    </a:lnTo>
                    <a:lnTo>
                      <a:pt x="56" y="41"/>
                    </a:lnTo>
                    <a:lnTo>
                      <a:pt x="55" y="39"/>
                    </a:lnTo>
                    <a:lnTo>
                      <a:pt x="52" y="38"/>
                    </a:lnTo>
                    <a:lnTo>
                      <a:pt x="50" y="38"/>
                    </a:lnTo>
                    <a:lnTo>
                      <a:pt x="49" y="38"/>
                    </a:lnTo>
                    <a:lnTo>
                      <a:pt x="49" y="39"/>
                    </a:lnTo>
                    <a:lnTo>
                      <a:pt x="48" y="41"/>
                    </a:lnTo>
                    <a:lnTo>
                      <a:pt x="45" y="42"/>
                    </a:lnTo>
                    <a:lnTo>
                      <a:pt x="38" y="42"/>
                    </a:lnTo>
                    <a:lnTo>
                      <a:pt x="35" y="44"/>
                    </a:lnTo>
                    <a:lnTo>
                      <a:pt x="35" y="45"/>
                    </a:lnTo>
                    <a:lnTo>
                      <a:pt x="35" y="46"/>
                    </a:lnTo>
                    <a:lnTo>
                      <a:pt x="35" y="48"/>
                    </a:lnTo>
                    <a:lnTo>
                      <a:pt x="35" y="49"/>
                    </a:lnTo>
                    <a:lnTo>
                      <a:pt x="34" y="49"/>
                    </a:lnTo>
                    <a:lnTo>
                      <a:pt x="29" y="51"/>
                    </a:lnTo>
                    <a:lnTo>
                      <a:pt x="24" y="51"/>
                    </a:lnTo>
                    <a:lnTo>
                      <a:pt x="20" y="51"/>
                    </a:lnTo>
                    <a:lnTo>
                      <a:pt x="17" y="51"/>
                    </a:lnTo>
                    <a:lnTo>
                      <a:pt x="14" y="49"/>
                    </a:lnTo>
                    <a:lnTo>
                      <a:pt x="11" y="46"/>
                    </a:lnTo>
                    <a:lnTo>
                      <a:pt x="9" y="44"/>
                    </a:lnTo>
                    <a:lnTo>
                      <a:pt x="9" y="44"/>
                    </a:lnTo>
                    <a:lnTo>
                      <a:pt x="9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3" y="38"/>
                    </a:lnTo>
                    <a:lnTo>
                      <a:pt x="0" y="34"/>
                    </a:lnTo>
                    <a:lnTo>
                      <a:pt x="0" y="32"/>
                    </a:lnTo>
                    <a:lnTo>
                      <a:pt x="2" y="30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2" y="28"/>
                    </a:lnTo>
                    <a:lnTo>
                      <a:pt x="3" y="25"/>
                    </a:lnTo>
                    <a:lnTo>
                      <a:pt x="4" y="23"/>
                    </a:lnTo>
                    <a:lnTo>
                      <a:pt x="6" y="21"/>
                    </a:lnTo>
                    <a:lnTo>
                      <a:pt x="6" y="20"/>
                    </a:lnTo>
                    <a:lnTo>
                      <a:pt x="9" y="21"/>
                    </a:lnTo>
                    <a:lnTo>
                      <a:pt x="11" y="21"/>
                    </a:lnTo>
                    <a:lnTo>
                      <a:pt x="14" y="21"/>
                    </a:lnTo>
                    <a:lnTo>
                      <a:pt x="17" y="20"/>
                    </a:lnTo>
                    <a:lnTo>
                      <a:pt x="18" y="18"/>
                    </a:lnTo>
                    <a:lnTo>
                      <a:pt x="20" y="17"/>
                    </a:lnTo>
                    <a:lnTo>
                      <a:pt x="20" y="17"/>
                    </a:lnTo>
                    <a:lnTo>
                      <a:pt x="20" y="16"/>
                    </a:lnTo>
                    <a:lnTo>
                      <a:pt x="22" y="16"/>
                    </a:lnTo>
                    <a:lnTo>
                      <a:pt x="22" y="14"/>
                    </a:lnTo>
                    <a:lnTo>
                      <a:pt x="22" y="13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4" y="9"/>
                    </a:lnTo>
                    <a:lnTo>
                      <a:pt x="28" y="7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9" y="5"/>
                    </a:lnTo>
                    <a:lnTo>
                      <a:pt x="31" y="3"/>
                    </a:lnTo>
                    <a:lnTo>
                      <a:pt x="32" y="3"/>
                    </a:lnTo>
                    <a:lnTo>
                      <a:pt x="34" y="3"/>
                    </a:lnTo>
                    <a:lnTo>
                      <a:pt x="35" y="3"/>
                    </a:lnTo>
                    <a:lnTo>
                      <a:pt x="36" y="2"/>
                    </a:lnTo>
                    <a:lnTo>
                      <a:pt x="36" y="2"/>
                    </a:lnTo>
                    <a:lnTo>
                      <a:pt x="38" y="3"/>
                    </a:lnTo>
                    <a:lnTo>
                      <a:pt x="39" y="5"/>
                    </a:lnTo>
                    <a:lnTo>
                      <a:pt x="39" y="6"/>
                    </a:lnTo>
                    <a:lnTo>
                      <a:pt x="42" y="6"/>
                    </a:lnTo>
                    <a:lnTo>
                      <a:pt x="43" y="2"/>
                    </a:lnTo>
                    <a:lnTo>
                      <a:pt x="45" y="2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9" y="3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3" y="6"/>
                    </a:lnTo>
                    <a:lnTo>
                      <a:pt x="53" y="6"/>
                    </a:lnTo>
                    <a:lnTo>
                      <a:pt x="53" y="7"/>
                    </a:lnTo>
                    <a:lnTo>
                      <a:pt x="53" y="9"/>
                    </a:lnTo>
                    <a:lnTo>
                      <a:pt x="53" y="10"/>
                    </a:lnTo>
                    <a:lnTo>
                      <a:pt x="53" y="12"/>
                    </a:lnTo>
                    <a:lnTo>
                      <a:pt x="55" y="12"/>
                    </a:lnTo>
                    <a:lnTo>
                      <a:pt x="55" y="12"/>
                    </a:lnTo>
                    <a:lnTo>
                      <a:pt x="56" y="10"/>
                    </a:lnTo>
                    <a:lnTo>
                      <a:pt x="59" y="12"/>
                    </a:lnTo>
                    <a:lnTo>
                      <a:pt x="59" y="9"/>
                    </a:lnTo>
                    <a:lnTo>
                      <a:pt x="60" y="7"/>
                    </a:lnTo>
                    <a:lnTo>
                      <a:pt x="61" y="7"/>
                    </a:lnTo>
                    <a:lnTo>
                      <a:pt x="63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7" y="6"/>
                    </a:lnTo>
                    <a:lnTo>
                      <a:pt x="68" y="6"/>
                    </a:lnTo>
                    <a:lnTo>
                      <a:pt x="71" y="6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4" y="7"/>
                    </a:lnTo>
                    <a:lnTo>
                      <a:pt x="75" y="7"/>
                    </a:lnTo>
                    <a:lnTo>
                      <a:pt x="77" y="5"/>
                    </a:lnTo>
                    <a:lnTo>
                      <a:pt x="78" y="5"/>
                    </a:lnTo>
                    <a:lnTo>
                      <a:pt x="80" y="5"/>
                    </a:lnTo>
                    <a:lnTo>
                      <a:pt x="82" y="5"/>
                    </a:lnTo>
                    <a:lnTo>
                      <a:pt x="87" y="5"/>
                    </a:lnTo>
                    <a:lnTo>
                      <a:pt x="88" y="6"/>
                    </a:lnTo>
                    <a:lnTo>
                      <a:pt x="92" y="7"/>
                    </a:lnTo>
                    <a:lnTo>
                      <a:pt x="94" y="9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98" y="13"/>
                    </a:lnTo>
                    <a:lnTo>
                      <a:pt x="102" y="14"/>
                    </a:lnTo>
                    <a:lnTo>
                      <a:pt x="103" y="14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800" kern="0">
                  <a:solidFill>
                    <a:srgbClr val="000000"/>
                  </a:solidFill>
                  <a:latin typeface="RR Pioneer"/>
                </a:endParaRPr>
              </a:p>
            </p:txBody>
          </p:sp>
          <p:sp>
            <p:nvSpPr>
              <p:cNvPr id="526" name="San Marino">
                <a:extLst>
                  <a:ext uri="{FF2B5EF4-FFF2-40B4-BE49-F238E27FC236}">
                    <a16:creationId xmlns:a16="http://schemas.microsoft.com/office/drawing/2014/main" id="{42C3D474-F239-52A2-D47F-0C4DC16BD9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2044" y="2833380"/>
                <a:ext cx="2347" cy="2347"/>
              </a:xfrm>
              <a:custGeom>
                <a:avLst/>
                <a:gdLst>
                  <a:gd name="T0" fmla="*/ 2 w 3"/>
                  <a:gd name="T1" fmla="*/ 3 h 3"/>
                  <a:gd name="T2" fmla="*/ 0 w 3"/>
                  <a:gd name="T3" fmla="*/ 3 h 3"/>
                  <a:gd name="T4" fmla="*/ 0 w 3"/>
                  <a:gd name="T5" fmla="*/ 1 h 3"/>
                  <a:gd name="T6" fmla="*/ 2 w 3"/>
                  <a:gd name="T7" fmla="*/ 0 h 3"/>
                  <a:gd name="T8" fmla="*/ 2 w 3"/>
                  <a:gd name="T9" fmla="*/ 0 h 3"/>
                  <a:gd name="T10" fmla="*/ 3 w 3"/>
                  <a:gd name="T11" fmla="*/ 1 h 3"/>
                  <a:gd name="T12" fmla="*/ 2 w 3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2" y="3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30" name="Turkey">
                <a:extLst>
                  <a:ext uri="{FF2B5EF4-FFF2-40B4-BE49-F238E27FC236}">
                    <a16:creationId xmlns:a16="http://schemas.microsoft.com/office/drawing/2014/main" id="{0F0125F7-4671-EBA5-266F-C400576EBD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90529" y="2870138"/>
                <a:ext cx="272952" cy="114968"/>
              </a:xfrm>
              <a:custGeom>
                <a:avLst/>
                <a:gdLst>
                  <a:gd name="T0" fmla="*/ 60 w 349"/>
                  <a:gd name="T1" fmla="*/ 26 h 147"/>
                  <a:gd name="T2" fmla="*/ 32 w 349"/>
                  <a:gd name="T3" fmla="*/ 31 h 147"/>
                  <a:gd name="T4" fmla="*/ 12 w 349"/>
                  <a:gd name="T5" fmla="*/ 46 h 147"/>
                  <a:gd name="T6" fmla="*/ 10 w 349"/>
                  <a:gd name="T7" fmla="*/ 35 h 147"/>
                  <a:gd name="T8" fmla="*/ 13 w 349"/>
                  <a:gd name="T9" fmla="*/ 27 h 147"/>
                  <a:gd name="T10" fmla="*/ 17 w 349"/>
                  <a:gd name="T11" fmla="*/ 14 h 147"/>
                  <a:gd name="T12" fmla="*/ 13 w 349"/>
                  <a:gd name="T13" fmla="*/ 7 h 147"/>
                  <a:gd name="T14" fmla="*/ 24 w 349"/>
                  <a:gd name="T15" fmla="*/ 2 h 147"/>
                  <a:gd name="T16" fmla="*/ 37 w 349"/>
                  <a:gd name="T17" fmla="*/ 3 h 147"/>
                  <a:gd name="T18" fmla="*/ 293 w 349"/>
                  <a:gd name="T19" fmla="*/ 16 h 147"/>
                  <a:gd name="T20" fmla="*/ 307 w 349"/>
                  <a:gd name="T21" fmla="*/ 13 h 147"/>
                  <a:gd name="T22" fmla="*/ 318 w 349"/>
                  <a:gd name="T23" fmla="*/ 20 h 147"/>
                  <a:gd name="T24" fmla="*/ 324 w 349"/>
                  <a:gd name="T25" fmla="*/ 24 h 147"/>
                  <a:gd name="T26" fmla="*/ 328 w 349"/>
                  <a:gd name="T27" fmla="*/ 37 h 147"/>
                  <a:gd name="T28" fmla="*/ 329 w 349"/>
                  <a:gd name="T29" fmla="*/ 49 h 147"/>
                  <a:gd name="T30" fmla="*/ 347 w 349"/>
                  <a:gd name="T31" fmla="*/ 58 h 147"/>
                  <a:gd name="T32" fmla="*/ 338 w 349"/>
                  <a:gd name="T33" fmla="*/ 65 h 147"/>
                  <a:gd name="T34" fmla="*/ 336 w 349"/>
                  <a:gd name="T35" fmla="*/ 70 h 147"/>
                  <a:gd name="T36" fmla="*/ 339 w 349"/>
                  <a:gd name="T37" fmla="*/ 83 h 147"/>
                  <a:gd name="T38" fmla="*/ 340 w 349"/>
                  <a:gd name="T39" fmla="*/ 91 h 147"/>
                  <a:gd name="T40" fmla="*/ 340 w 349"/>
                  <a:gd name="T41" fmla="*/ 101 h 147"/>
                  <a:gd name="T42" fmla="*/ 344 w 349"/>
                  <a:gd name="T43" fmla="*/ 111 h 147"/>
                  <a:gd name="T44" fmla="*/ 344 w 349"/>
                  <a:gd name="T45" fmla="*/ 116 h 147"/>
                  <a:gd name="T46" fmla="*/ 338 w 349"/>
                  <a:gd name="T47" fmla="*/ 116 h 147"/>
                  <a:gd name="T48" fmla="*/ 325 w 349"/>
                  <a:gd name="T49" fmla="*/ 115 h 147"/>
                  <a:gd name="T50" fmla="*/ 311 w 349"/>
                  <a:gd name="T51" fmla="*/ 112 h 147"/>
                  <a:gd name="T52" fmla="*/ 298 w 349"/>
                  <a:gd name="T53" fmla="*/ 115 h 147"/>
                  <a:gd name="T54" fmla="*/ 273 w 349"/>
                  <a:gd name="T55" fmla="*/ 118 h 147"/>
                  <a:gd name="T56" fmla="*/ 237 w 349"/>
                  <a:gd name="T57" fmla="*/ 126 h 147"/>
                  <a:gd name="T58" fmla="*/ 216 w 349"/>
                  <a:gd name="T59" fmla="*/ 127 h 147"/>
                  <a:gd name="T60" fmla="*/ 200 w 349"/>
                  <a:gd name="T61" fmla="*/ 124 h 147"/>
                  <a:gd name="T62" fmla="*/ 195 w 349"/>
                  <a:gd name="T63" fmla="*/ 138 h 147"/>
                  <a:gd name="T64" fmla="*/ 186 w 349"/>
                  <a:gd name="T65" fmla="*/ 138 h 147"/>
                  <a:gd name="T66" fmla="*/ 186 w 349"/>
                  <a:gd name="T67" fmla="*/ 123 h 147"/>
                  <a:gd name="T68" fmla="*/ 166 w 349"/>
                  <a:gd name="T69" fmla="*/ 124 h 147"/>
                  <a:gd name="T70" fmla="*/ 136 w 349"/>
                  <a:gd name="T71" fmla="*/ 140 h 147"/>
                  <a:gd name="T72" fmla="*/ 103 w 349"/>
                  <a:gd name="T73" fmla="*/ 124 h 147"/>
                  <a:gd name="T74" fmla="*/ 87 w 349"/>
                  <a:gd name="T75" fmla="*/ 137 h 147"/>
                  <a:gd name="T76" fmla="*/ 63 w 349"/>
                  <a:gd name="T77" fmla="*/ 131 h 147"/>
                  <a:gd name="T78" fmla="*/ 48 w 349"/>
                  <a:gd name="T79" fmla="*/ 124 h 147"/>
                  <a:gd name="T80" fmla="*/ 32 w 349"/>
                  <a:gd name="T81" fmla="*/ 126 h 147"/>
                  <a:gd name="T82" fmla="*/ 45 w 349"/>
                  <a:gd name="T83" fmla="*/ 119 h 147"/>
                  <a:gd name="T84" fmla="*/ 34 w 349"/>
                  <a:gd name="T85" fmla="*/ 115 h 147"/>
                  <a:gd name="T86" fmla="*/ 28 w 349"/>
                  <a:gd name="T87" fmla="*/ 104 h 147"/>
                  <a:gd name="T88" fmla="*/ 17 w 349"/>
                  <a:gd name="T89" fmla="*/ 94 h 147"/>
                  <a:gd name="T90" fmla="*/ 13 w 349"/>
                  <a:gd name="T91" fmla="*/ 83 h 147"/>
                  <a:gd name="T92" fmla="*/ 20 w 349"/>
                  <a:gd name="T93" fmla="*/ 88 h 147"/>
                  <a:gd name="T94" fmla="*/ 21 w 349"/>
                  <a:gd name="T95" fmla="*/ 83 h 147"/>
                  <a:gd name="T96" fmla="*/ 21 w 349"/>
                  <a:gd name="T97" fmla="*/ 74 h 147"/>
                  <a:gd name="T98" fmla="*/ 21 w 349"/>
                  <a:gd name="T99" fmla="*/ 60 h 147"/>
                  <a:gd name="T100" fmla="*/ 12 w 349"/>
                  <a:gd name="T101" fmla="*/ 51 h 147"/>
                  <a:gd name="T102" fmla="*/ 38 w 349"/>
                  <a:gd name="T103" fmla="*/ 42 h 147"/>
                  <a:gd name="T104" fmla="*/ 41 w 349"/>
                  <a:gd name="T105" fmla="*/ 42 h 147"/>
                  <a:gd name="T106" fmla="*/ 57 w 349"/>
                  <a:gd name="T107" fmla="*/ 38 h 147"/>
                  <a:gd name="T108" fmla="*/ 66 w 349"/>
                  <a:gd name="T109" fmla="*/ 31 h 147"/>
                  <a:gd name="T110" fmla="*/ 85 w 349"/>
                  <a:gd name="T111" fmla="*/ 23 h 147"/>
                  <a:gd name="T112" fmla="*/ 138 w 349"/>
                  <a:gd name="T113" fmla="*/ 3 h 147"/>
                  <a:gd name="T114" fmla="*/ 173 w 349"/>
                  <a:gd name="T115" fmla="*/ 7 h 147"/>
                  <a:gd name="T116" fmla="*/ 197 w 349"/>
                  <a:gd name="T117" fmla="*/ 20 h 147"/>
                  <a:gd name="T118" fmla="*/ 232 w 349"/>
                  <a:gd name="T119" fmla="*/ 28 h 147"/>
                  <a:gd name="T120" fmla="*/ 273 w 349"/>
                  <a:gd name="T121" fmla="*/ 24 h 147"/>
                  <a:gd name="T122" fmla="*/ 2 w 349"/>
                  <a:gd name="T123" fmla="*/ 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49" h="147">
                    <a:moveTo>
                      <a:pt x="44" y="3"/>
                    </a:moveTo>
                    <a:lnTo>
                      <a:pt x="42" y="6"/>
                    </a:lnTo>
                    <a:lnTo>
                      <a:pt x="44" y="9"/>
                    </a:lnTo>
                    <a:lnTo>
                      <a:pt x="46" y="13"/>
                    </a:lnTo>
                    <a:lnTo>
                      <a:pt x="49" y="16"/>
                    </a:lnTo>
                    <a:lnTo>
                      <a:pt x="60" y="21"/>
                    </a:lnTo>
                    <a:lnTo>
                      <a:pt x="62" y="21"/>
                    </a:lnTo>
                    <a:lnTo>
                      <a:pt x="62" y="24"/>
                    </a:lnTo>
                    <a:lnTo>
                      <a:pt x="60" y="26"/>
                    </a:lnTo>
                    <a:lnTo>
                      <a:pt x="60" y="27"/>
                    </a:lnTo>
                    <a:lnTo>
                      <a:pt x="57" y="27"/>
                    </a:lnTo>
                    <a:lnTo>
                      <a:pt x="48" y="26"/>
                    </a:lnTo>
                    <a:lnTo>
                      <a:pt x="46" y="26"/>
                    </a:lnTo>
                    <a:lnTo>
                      <a:pt x="44" y="26"/>
                    </a:lnTo>
                    <a:lnTo>
                      <a:pt x="41" y="27"/>
                    </a:lnTo>
                    <a:lnTo>
                      <a:pt x="38" y="27"/>
                    </a:lnTo>
                    <a:lnTo>
                      <a:pt x="34" y="27"/>
                    </a:lnTo>
                    <a:lnTo>
                      <a:pt x="32" y="31"/>
                    </a:lnTo>
                    <a:lnTo>
                      <a:pt x="30" y="34"/>
                    </a:lnTo>
                    <a:lnTo>
                      <a:pt x="24" y="37"/>
                    </a:lnTo>
                    <a:lnTo>
                      <a:pt x="20" y="39"/>
                    </a:lnTo>
                    <a:lnTo>
                      <a:pt x="14" y="45"/>
                    </a:lnTo>
                    <a:lnTo>
                      <a:pt x="13" y="48"/>
                    </a:lnTo>
                    <a:lnTo>
                      <a:pt x="12" y="48"/>
                    </a:lnTo>
                    <a:lnTo>
                      <a:pt x="10" y="49"/>
                    </a:lnTo>
                    <a:lnTo>
                      <a:pt x="10" y="48"/>
                    </a:lnTo>
                    <a:lnTo>
                      <a:pt x="12" y="46"/>
                    </a:lnTo>
                    <a:lnTo>
                      <a:pt x="12" y="45"/>
                    </a:lnTo>
                    <a:lnTo>
                      <a:pt x="12" y="44"/>
                    </a:lnTo>
                    <a:lnTo>
                      <a:pt x="13" y="41"/>
                    </a:lnTo>
                    <a:lnTo>
                      <a:pt x="14" y="39"/>
                    </a:lnTo>
                    <a:lnTo>
                      <a:pt x="20" y="38"/>
                    </a:lnTo>
                    <a:lnTo>
                      <a:pt x="21" y="35"/>
                    </a:lnTo>
                    <a:lnTo>
                      <a:pt x="17" y="35"/>
                    </a:lnTo>
                    <a:lnTo>
                      <a:pt x="13" y="37"/>
                    </a:lnTo>
                    <a:lnTo>
                      <a:pt x="10" y="35"/>
                    </a:lnTo>
                    <a:lnTo>
                      <a:pt x="9" y="37"/>
                    </a:lnTo>
                    <a:lnTo>
                      <a:pt x="7" y="34"/>
                    </a:lnTo>
                    <a:lnTo>
                      <a:pt x="7" y="34"/>
                    </a:lnTo>
                    <a:lnTo>
                      <a:pt x="7" y="32"/>
                    </a:lnTo>
                    <a:lnTo>
                      <a:pt x="9" y="32"/>
                    </a:lnTo>
                    <a:lnTo>
                      <a:pt x="10" y="31"/>
                    </a:lnTo>
                    <a:lnTo>
                      <a:pt x="10" y="30"/>
                    </a:lnTo>
                    <a:lnTo>
                      <a:pt x="13" y="28"/>
                    </a:lnTo>
                    <a:lnTo>
                      <a:pt x="13" y="27"/>
                    </a:lnTo>
                    <a:lnTo>
                      <a:pt x="13" y="26"/>
                    </a:lnTo>
                    <a:lnTo>
                      <a:pt x="13" y="26"/>
                    </a:lnTo>
                    <a:lnTo>
                      <a:pt x="13" y="24"/>
                    </a:lnTo>
                    <a:lnTo>
                      <a:pt x="13" y="23"/>
                    </a:lnTo>
                    <a:lnTo>
                      <a:pt x="13" y="21"/>
                    </a:lnTo>
                    <a:lnTo>
                      <a:pt x="16" y="19"/>
                    </a:lnTo>
                    <a:lnTo>
                      <a:pt x="17" y="19"/>
                    </a:lnTo>
                    <a:lnTo>
                      <a:pt x="17" y="17"/>
                    </a:lnTo>
                    <a:lnTo>
                      <a:pt x="17" y="14"/>
                    </a:lnTo>
                    <a:lnTo>
                      <a:pt x="17" y="13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2" y="9"/>
                    </a:lnTo>
                    <a:lnTo>
                      <a:pt x="13" y="9"/>
                    </a:lnTo>
                    <a:lnTo>
                      <a:pt x="13" y="7"/>
                    </a:lnTo>
                    <a:lnTo>
                      <a:pt x="16" y="7"/>
                    </a:lnTo>
                    <a:lnTo>
                      <a:pt x="16" y="6"/>
                    </a:lnTo>
                    <a:lnTo>
                      <a:pt x="16" y="5"/>
                    </a:lnTo>
                    <a:lnTo>
                      <a:pt x="17" y="5"/>
                    </a:lnTo>
                    <a:lnTo>
                      <a:pt x="17" y="3"/>
                    </a:lnTo>
                    <a:lnTo>
                      <a:pt x="18" y="3"/>
                    </a:lnTo>
                    <a:lnTo>
                      <a:pt x="21" y="3"/>
                    </a:lnTo>
                    <a:lnTo>
                      <a:pt x="23" y="3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1" y="2"/>
                    </a:lnTo>
                    <a:lnTo>
                      <a:pt x="34" y="5"/>
                    </a:lnTo>
                    <a:lnTo>
                      <a:pt x="34" y="5"/>
                    </a:lnTo>
                    <a:lnTo>
                      <a:pt x="35" y="5"/>
                    </a:lnTo>
                    <a:lnTo>
                      <a:pt x="37" y="3"/>
                    </a:lnTo>
                    <a:lnTo>
                      <a:pt x="38" y="3"/>
                    </a:lnTo>
                    <a:lnTo>
                      <a:pt x="39" y="3"/>
                    </a:lnTo>
                    <a:lnTo>
                      <a:pt x="39" y="3"/>
                    </a:lnTo>
                    <a:lnTo>
                      <a:pt x="41" y="3"/>
                    </a:lnTo>
                    <a:lnTo>
                      <a:pt x="44" y="3"/>
                    </a:lnTo>
                    <a:close/>
                    <a:moveTo>
                      <a:pt x="287" y="14"/>
                    </a:moveTo>
                    <a:lnTo>
                      <a:pt x="289" y="14"/>
                    </a:lnTo>
                    <a:lnTo>
                      <a:pt x="292" y="16"/>
                    </a:lnTo>
                    <a:lnTo>
                      <a:pt x="293" y="16"/>
                    </a:lnTo>
                    <a:lnTo>
                      <a:pt x="294" y="16"/>
                    </a:lnTo>
                    <a:lnTo>
                      <a:pt x="296" y="14"/>
                    </a:lnTo>
                    <a:lnTo>
                      <a:pt x="298" y="14"/>
                    </a:lnTo>
                    <a:lnTo>
                      <a:pt x="301" y="16"/>
                    </a:lnTo>
                    <a:lnTo>
                      <a:pt x="303" y="16"/>
                    </a:lnTo>
                    <a:lnTo>
                      <a:pt x="304" y="16"/>
                    </a:lnTo>
                    <a:lnTo>
                      <a:pt x="305" y="16"/>
                    </a:lnTo>
                    <a:lnTo>
                      <a:pt x="305" y="16"/>
                    </a:lnTo>
                    <a:lnTo>
                      <a:pt x="307" y="13"/>
                    </a:lnTo>
                    <a:lnTo>
                      <a:pt x="308" y="13"/>
                    </a:lnTo>
                    <a:lnTo>
                      <a:pt x="308" y="13"/>
                    </a:lnTo>
                    <a:lnTo>
                      <a:pt x="310" y="13"/>
                    </a:lnTo>
                    <a:lnTo>
                      <a:pt x="311" y="13"/>
                    </a:lnTo>
                    <a:lnTo>
                      <a:pt x="311" y="13"/>
                    </a:lnTo>
                    <a:lnTo>
                      <a:pt x="312" y="14"/>
                    </a:lnTo>
                    <a:lnTo>
                      <a:pt x="314" y="16"/>
                    </a:lnTo>
                    <a:lnTo>
                      <a:pt x="317" y="19"/>
                    </a:lnTo>
                    <a:lnTo>
                      <a:pt x="318" y="20"/>
                    </a:lnTo>
                    <a:lnTo>
                      <a:pt x="318" y="20"/>
                    </a:lnTo>
                    <a:lnTo>
                      <a:pt x="318" y="20"/>
                    </a:lnTo>
                    <a:lnTo>
                      <a:pt x="318" y="21"/>
                    </a:lnTo>
                    <a:lnTo>
                      <a:pt x="319" y="23"/>
                    </a:lnTo>
                    <a:lnTo>
                      <a:pt x="321" y="23"/>
                    </a:lnTo>
                    <a:lnTo>
                      <a:pt x="322" y="23"/>
                    </a:lnTo>
                    <a:lnTo>
                      <a:pt x="322" y="23"/>
                    </a:lnTo>
                    <a:lnTo>
                      <a:pt x="324" y="23"/>
                    </a:lnTo>
                    <a:lnTo>
                      <a:pt x="324" y="24"/>
                    </a:lnTo>
                    <a:lnTo>
                      <a:pt x="324" y="24"/>
                    </a:lnTo>
                    <a:lnTo>
                      <a:pt x="324" y="26"/>
                    </a:lnTo>
                    <a:lnTo>
                      <a:pt x="325" y="27"/>
                    </a:lnTo>
                    <a:lnTo>
                      <a:pt x="326" y="27"/>
                    </a:lnTo>
                    <a:lnTo>
                      <a:pt x="326" y="28"/>
                    </a:lnTo>
                    <a:lnTo>
                      <a:pt x="328" y="31"/>
                    </a:lnTo>
                    <a:lnTo>
                      <a:pt x="328" y="34"/>
                    </a:lnTo>
                    <a:lnTo>
                      <a:pt x="328" y="35"/>
                    </a:lnTo>
                    <a:lnTo>
                      <a:pt x="328" y="37"/>
                    </a:lnTo>
                    <a:lnTo>
                      <a:pt x="325" y="39"/>
                    </a:lnTo>
                    <a:lnTo>
                      <a:pt x="326" y="39"/>
                    </a:lnTo>
                    <a:lnTo>
                      <a:pt x="326" y="41"/>
                    </a:lnTo>
                    <a:lnTo>
                      <a:pt x="326" y="42"/>
                    </a:lnTo>
                    <a:lnTo>
                      <a:pt x="328" y="45"/>
                    </a:lnTo>
                    <a:lnTo>
                      <a:pt x="328" y="46"/>
                    </a:lnTo>
                    <a:lnTo>
                      <a:pt x="328" y="46"/>
                    </a:lnTo>
                    <a:lnTo>
                      <a:pt x="328" y="48"/>
                    </a:lnTo>
                    <a:lnTo>
                      <a:pt x="329" y="49"/>
                    </a:lnTo>
                    <a:lnTo>
                      <a:pt x="332" y="51"/>
                    </a:lnTo>
                    <a:lnTo>
                      <a:pt x="333" y="51"/>
                    </a:lnTo>
                    <a:lnTo>
                      <a:pt x="336" y="49"/>
                    </a:lnTo>
                    <a:lnTo>
                      <a:pt x="339" y="49"/>
                    </a:lnTo>
                    <a:lnTo>
                      <a:pt x="340" y="51"/>
                    </a:lnTo>
                    <a:lnTo>
                      <a:pt x="343" y="53"/>
                    </a:lnTo>
                    <a:lnTo>
                      <a:pt x="347" y="56"/>
                    </a:lnTo>
                    <a:lnTo>
                      <a:pt x="347" y="58"/>
                    </a:lnTo>
                    <a:lnTo>
                      <a:pt x="347" y="58"/>
                    </a:lnTo>
                    <a:lnTo>
                      <a:pt x="349" y="59"/>
                    </a:lnTo>
                    <a:lnTo>
                      <a:pt x="347" y="59"/>
                    </a:lnTo>
                    <a:lnTo>
                      <a:pt x="346" y="58"/>
                    </a:lnTo>
                    <a:lnTo>
                      <a:pt x="344" y="56"/>
                    </a:lnTo>
                    <a:lnTo>
                      <a:pt x="343" y="58"/>
                    </a:lnTo>
                    <a:lnTo>
                      <a:pt x="342" y="59"/>
                    </a:lnTo>
                    <a:lnTo>
                      <a:pt x="340" y="65"/>
                    </a:lnTo>
                    <a:lnTo>
                      <a:pt x="339" y="65"/>
                    </a:lnTo>
                    <a:lnTo>
                      <a:pt x="338" y="65"/>
                    </a:lnTo>
                    <a:lnTo>
                      <a:pt x="336" y="65"/>
                    </a:lnTo>
                    <a:lnTo>
                      <a:pt x="335" y="65"/>
                    </a:lnTo>
                    <a:lnTo>
                      <a:pt x="333" y="66"/>
                    </a:lnTo>
                    <a:lnTo>
                      <a:pt x="333" y="66"/>
                    </a:lnTo>
                    <a:lnTo>
                      <a:pt x="335" y="67"/>
                    </a:lnTo>
                    <a:lnTo>
                      <a:pt x="335" y="69"/>
                    </a:lnTo>
                    <a:lnTo>
                      <a:pt x="335" y="69"/>
                    </a:lnTo>
                    <a:lnTo>
                      <a:pt x="336" y="70"/>
                    </a:lnTo>
                    <a:lnTo>
                      <a:pt x="336" y="70"/>
                    </a:lnTo>
                    <a:lnTo>
                      <a:pt x="336" y="72"/>
                    </a:lnTo>
                    <a:lnTo>
                      <a:pt x="336" y="73"/>
                    </a:lnTo>
                    <a:lnTo>
                      <a:pt x="336" y="74"/>
                    </a:lnTo>
                    <a:lnTo>
                      <a:pt x="336" y="74"/>
                    </a:lnTo>
                    <a:lnTo>
                      <a:pt x="336" y="76"/>
                    </a:lnTo>
                    <a:lnTo>
                      <a:pt x="338" y="77"/>
                    </a:lnTo>
                    <a:lnTo>
                      <a:pt x="338" y="78"/>
                    </a:lnTo>
                    <a:lnTo>
                      <a:pt x="338" y="81"/>
                    </a:lnTo>
                    <a:lnTo>
                      <a:pt x="339" y="83"/>
                    </a:lnTo>
                    <a:lnTo>
                      <a:pt x="339" y="84"/>
                    </a:lnTo>
                    <a:lnTo>
                      <a:pt x="339" y="88"/>
                    </a:lnTo>
                    <a:lnTo>
                      <a:pt x="339" y="88"/>
                    </a:lnTo>
                    <a:lnTo>
                      <a:pt x="339" y="88"/>
                    </a:lnTo>
                    <a:lnTo>
                      <a:pt x="340" y="88"/>
                    </a:lnTo>
                    <a:lnTo>
                      <a:pt x="342" y="90"/>
                    </a:lnTo>
                    <a:lnTo>
                      <a:pt x="342" y="90"/>
                    </a:lnTo>
                    <a:lnTo>
                      <a:pt x="342" y="90"/>
                    </a:lnTo>
                    <a:lnTo>
                      <a:pt x="340" y="91"/>
                    </a:lnTo>
                    <a:lnTo>
                      <a:pt x="340" y="92"/>
                    </a:lnTo>
                    <a:lnTo>
                      <a:pt x="339" y="94"/>
                    </a:lnTo>
                    <a:lnTo>
                      <a:pt x="339" y="95"/>
                    </a:lnTo>
                    <a:lnTo>
                      <a:pt x="338" y="97"/>
                    </a:lnTo>
                    <a:lnTo>
                      <a:pt x="338" y="98"/>
                    </a:lnTo>
                    <a:lnTo>
                      <a:pt x="338" y="99"/>
                    </a:lnTo>
                    <a:lnTo>
                      <a:pt x="338" y="99"/>
                    </a:lnTo>
                    <a:lnTo>
                      <a:pt x="339" y="101"/>
                    </a:lnTo>
                    <a:lnTo>
                      <a:pt x="340" y="101"/>
                    </a:lnTo>
                    <a:lnTo>
                      <a:pt x="343" y="104"/>
                    </a:lnTo>
                    <a:lnTo>
                      <a:pt x="344" y="104"/>
                    </a:lnTo>
                    <a:lnTo>
                      <a:pt x="343" y="105"/>
                    </a:lnTo>
                    <a:lnTo>
                      <a:pt x="343" y="105"/>
                    </a:lnTo>
                    <a:lnTo>
                      <a:pt x="343" y="106"/>
                    </a:lnTo>
                    <a:lnTo>
                      <a:pt x="343" y="108"/>
                    </a:lnTo>
                    <a:lnTo>
                      <a:pt x="343" y="109"/>
                    </a:lnTo>
                    <a:lnTo>
                      <a:pt x="343" y="111"/>
                    </a:lnTo>
                    <a:lnTo>
                      <a:pt x="344" y="111"/>
                    </a:lnTo>
                    <a:lnTo>
                      <a:pt x="346" y="112"/>
                    </a:lnTo>
                    <a:lnTo>
                      <a:pt x="347" y="113"/>
                    </a:lnTo>
                    <a:lnTo>
                      <a:pt x="347" y="113"/>
                    </a:lnTo>
                    <a:lnTo>
                      <a:pt x="347" y="115"/>
                    </a:lnTo>
                    <a:lnTo>
                      <a:pt x="347" y="116"/>
                    </a:lnTo>
                    <a:lnTo>
                      <a:pt x="347" y="118"/>
                    </a:lnTo>
                    <a:lnTo>
                      <a:pt x="346" y="116"/>
                    </a:lnTo>
                    <a:lnTo>
                      <a:pt x="346" y="116"/>
                    </a:lnTo>
                    <a:lnTo>
                      <a:pt x="344" y="116"/>
                    </a:lnTo>
                    <a:lnTo>
                      <a:pt x="343" y="116"/>
                    </a:lnTo>
                    <a:lnTo>
                      <a:pt x="342" y="118"/>
                    </a:lnTo>
                    <a:lnTo>
                      <a:pt x="340" y="119"/>
                    </a:lnTo>
                    <a:lnTo>
                      <a:pt x="339" y="120"/>
                    </a:lnTo>
                    <a:lnTo>
                      <a:pt x="339" y="120"/>
                    </a:lnTo>
                    <a:lnTo>
                      <a:pt x="338" y="120"/>
                    </a:lnTo>
                    <a:lnTo>
                      <a:pt x="338" y="120"/>
                    </a:lnTo>
                    <a:lnTo>
                      <a:pt x="338" y="119"/>
                    </a:lnTo>
                    <a:lnTo>
                      <a:pt x="338" y="116"/>
                    </a:lnTo>
                    <a:lnTo>
                      <a:pt x="336" y="115"/>
                    </a:lnTo>
                    <a:lnTo>
                      <a:pt x="336" y="113"/>
                    </a:lnTo>
                    <a:lnTo>
                      <a:pt x="335" y="113"/>
                    </a:lnTo>
                    <a:lnTo>
                      <a:pt x="335" y="113"/>
                    </a:lnTo>
                    <a:lnTo>
                      <a:pt x="333" y="113"/>
                    </a:lnTo>
                    <a:lnTo>
                      <a:pt x="332" y="113"/>
                    </a:lnTo>
                    <a:lnTo>
                      <a:pt x="331" y="115"/>
                    </a:lnTo>
                    <a:lnTo>
                      <a:pt x="328" y="115"/>
                    </a:lnTo>
                    <a:lnTo>
                      <a:pt x="325" y="115"/>
                    </a:lnTo>
                    <a:lnTo>
                      <a:pt x="325" y="115"/>
                    </a:lnTo>
                    <a:lnTo>
                      <a:pt x="321" y="113"/>
                    </a:lnTo>
                    <a:lnTo>
                      <a:pt x="319" y="113"/>
                    </a:lnTo>
                    <a:lnTo>
                      <a:pt x="318" y="112"/>
                    </a:lnTo>
                    <a:lnTo>
                      <a:pt x="317" y="112"/>
                    </a:lnTo>
                    <a:lnTo>
                      <a:pt x="314" y="113"/>
                    </a:lnTo>
                    <a:lnTo>
                      <a:pt x="312" y="112"/>
                    </a:lnTo>
                    <a:lnTo>
                      <a:pt x="311" y="112"/>
                    </a:lnTo>
                    <a:lnTo>
                      <a:pt x="311" y="112"/>
                    </a:lnTo>
                    <a:lnTo>
                      <a:pt x="308" y="115"/>
                    </a:lnTo>
                    <a:lnTo>
                      <a:pt x="305" y="118"/>
                    </a:lnTo>
                    <a:lnTo>
                      <a:pt x="304" y="118"/>
                    </a:lnTo>
                    <a:lnTo>
                      <a:pt x="303" y="115"/>
                    </a:lnTo>
                    <a:lnTo>
                      <a:pt x="301" y="113"/>
                    </a:lnTo>
                    <a:lnTo>
                      <a:pt x="301" y="113"/>
                    </a:lnTo>
                    <a:lnTo>
                      <a:pt x="301" y="113"/>
                    </a:lnTo>
                    <a:lnTo>
                      <a:pt x="300" y="113"/>
                    </a:lnTo>
                    <a:lnTo>
                      <a:pt x="298" y="115"/>
                    </a:lnTo>
                    <a:lnTo>
                      <a:pt x="294" y="116"/>
                    </a:lnTo>
                    <a:lnTo>
                      <a:pt x="293" y="118"/>
                    </a:lnTo>
                    <a:lnTo>
                      <a:pt x="289" y="118"/>
                    </a:lnTo>
                    <a:lnTo>
                      <a:pt x="285" y="119"/>
                    </a:lnTo>
                    <a:lnTo>
                      <a:pt x="283" y="119"/>
                    </a:lnTo>
                    <a:lnTo>
                      <a:pt x="280" y="118"/>
                    </a:lnTo>
                    <a:lnTo>
                      <a:pt x="278" y="118"/>
                    </a:lnTo>
                    <a:lnTo>
                      <a:pt x="275" y="118"/>
                    </a:lnTo>
                    <a:lnTo>
                      <a:pt x="273" y="118"/>
                    </a:lnTo>
                    <a:lnTo>
                      <a:pt x="269" y="120"/>
                    </a:lnTo>
                    <a:lnTo>
                      <a:pt x="261" y="124"/>
                    </a:lnTo>
                    <a:lnTo>
                      <a:pt x="255" y="126"/>
                    </a:lnTo>
                    <a:lnTo>
                      <a:pt x="251" y="127"/>
                    </a:lnTo>
                    <a:lnTo>
                      <a:pt x="248" y="127"/>
                    </a:lnTo>
                    <a:lnTo>
                      <a:pt x="244" y="127"/>
                    </a:lnTo>
                    <a:lnTo>
                      <a:pt x="241" y="127"/>
                    </a:lnTo>
                    <a:lnTo>
                      <a:pt x="239" y="127"/>
                    </a:lnTo>
                    <a:lnTo>
                      <a:pt x="237" y="126"/>
                    </a:lnTo>
                    <a:lnTo>
                      <a:pt x="234" y="124"/>
                    </a:lnTo>
                    <a:lnTo>
                      <a:pt x="233" y="123"/>
                    </a:lnTo>
                    <a:lnTo>
                      <a:pt x="232" y="123"/>
                    </a:lnTo>
                    <a:lnTo>
                      <a:pt x="230" y="123"/>
                    </a:lnTo>
                    <a:lnTo>
                      <a:pt x="227" y="122"/>
                    </a:lnTo>
                    <a:lnTo>
                      <a:pt x="223" y="124"/>
                    </a:lnTo>
                    <a:lnTo>
                      <a:pt x="220" y="126"/>
                    </a:lnTo>
                    <a:lnTo>
                      <a:pt x="219" y="126"/>
                    </a:lnTo>
                    <a:lnTo>
                      <a:pt x="216" y="127"/>
                    </a:lnTo>
                    <a:lnTo>
                      <a:pt x="214" y="129"/>
                    </a:lnTo>
                    <a:lnTo>
                      <a:pt x="212" y="129"/>
                    </a:lnTo>
                    <a:lnTo>
                      <a:pt x="209" y="127"/>
                    </a:lnTo>
                    <a:lnTo>
                      <a:pt x="208" y="127"/>
                    </a:lnTo>
                    <a:lnTo>
                      <a:pt x="207" y="127"/>
                    </a:lnTo>
                    <a:lnTo>
                      <a:pt x="205" y="126"/>
                    </a:lnTo>
                    <a:lnTo>
                      <a:pt x="202" y="124"/>
                    </a:lnTo>
                    <a:lnTo>
                      <a:pt x="200" y="124"/>
                    </a:lnTo>
                    <a:lnTo>
                      <a:pt x="200" y="124"/>
                    </a:lnTo>
                    <a:lnTo>
                      <a:pt x="198" y="127"/>
                    </a:lnTo>
                    <a:lnTo>
                      <a:pt x="198" y="131"/>
                    </a:lnTo>
                    <a:lnTo>
                      <a:pt x="198" y="133"/>
                    </a:lnTo>
                    <a:lnTo>
                      <a:pt x="200" y="137"/>
                    </a:lnTo>
                    <a:lnTo>
                      <a:pt x="200" y="137"/>
                    </a:lnTo>
                    <a:lnTo>
                      <a:pt x="198" y="137"/>
                    </a:lnTo>
                    <a:lnTo>
                      <a:pt x="197" y="137"/>
                    </a:lnTo>
                    <a:lnTo>
                      <a:pt x="195" y="138"/>
                    </a:lnTo>
                    <a:lnTo>
                      <a:pt x="195" y="138"/>
                    </a:lnTo>
                    <a:lnTo>
                      <a:pt x="194" y="143"/>
                    </a:lnTo>
                    <a:lnTo>
                      <a:pt x="193" y="143"/>
                    </a:lnTo>
                    <a:lnTo>
                      <a:pt x="191" y="144"/>
                    </a:lnTo>
                    <a:lnTo>
                      <a:pt x="191" y="147"/>
                    </a:lnTo>
                    <a:lnTo>
                      <a:pt x="190" y="147"/>
                    </a:lnTo>
                    <a:lnTo>
                      <a:pt x="187" y="144"/>
                    </a:lnTo>
                    <a:lnTo>
                      <a:pt x="186" y="144"/>
                    </a:lnTo>
                    <a:lnTo>
                      <a:pt x="187" y="143"/>
                    </a:lnTo>
                    <a:lnTo>
                      <a:pt x="186" y="138"/>
                    </a:lnTo>
                    <a:lnTo>
                      <a:pt x="184" y="136"/>
                    </a:lnTo>
                    <a:lnTo>
                      <a:pt x="186" y="133"/>
                    </a:lnTo>
                    <a:lnTo>
                      <a:pt x="188" y="131"/>
                    </a:lnTo>
                    <a:lnTo>
                      <a:pt x="191" y="127"/>
                    </a:lnTo>
                    <a:lnTo>
                      <a:pt x="191" y="126"/>
                    </a:lnTo>
                    <a:lnTo>
                      <a:pt x="191" y="124"/>
                    </a:lnTo>
                    <a:lnTo>
                      <a:pt x="190" y="123"/>
                    </a:lnTo>
                    <a:lnTo>
                      <a:pt x="188" y="122"/>
                    </a:lnTo>
                    <a:lnTo>
                      <a:pt x="186" y="123"/>
                    </a:lnTo>
                    <a:lnTo>
                      <a:pt x="184" y="124"/>
                    </a:lnTo>
                    <a:lnTo>
                      <a:pt x="183" y="126"/>
                    </a:lnTo>
                    <a:lnTo>
                      <a:pt x="181" y="126"/>
                    </a:lnTo>
                    <a:lnTo>
                      <a:pt x="181" y="127"/>
                    </a:lnTo>
                    <a:lnTo>
                      <a:pt x="180" y="129"/>
                    </a:lnTo>
                    <a:lnTo>
                      <a:pt x="177" y="130"/>
                    </a:lnTo>
                    <a:lnTo>
                      <a:pt x="173" y="129"/>
                    </a:lnTo>
                    <a:lnTo>
                      <a:pt x="169" y="126"/>
                    </a:lnTo>
                    <a:lnTo>
                      <a:pt x="166" y="124"/>
                    </a:lnTo>
                    <a:lnTo>
                      <a:pt x="165" y="124"/>
                    </a:lnTo>
                    <a:lnTo>
                      <a:pt x="162" y="124"/>
                    </a:lnTo>
                    <a:lnTo>
                      <a:pt x="158" y="129"/>
                    </a:lnTo>
                    <a:lnTo>
                      <a:pt x="152" y="134"/>
                    </a:lnTo>
                    <a:lnTo>
                      <a:pt x="151" y="136"/>
                    </a:lnTo>
                    <a:lnTo>
                      <a:pt x="147" y="138"/>
                    </a:lnTo>
                    <a:lnTo>
                      <a:pt x="142" y="140"/>
                    </a:lnTo>
                    <a:lnTo>
                      <a:pt x="141" y="140"/>
                    </a:lnTo>
                    <a:lnTo>
                      <a:pt x="136" y="140"/>
                    </a:lnTo>
                    <a:lnTo>
                      <a:pt x="133" y="140"/>
                    </a:lnTo>
                    <a:lnTo>
                      <a:pt x="130" y="141"/>
                    </a:lnTo>
                    <a:lnTo>
                      <a:pt x="124" y="140"/>
                    </a:lnTo>
                    <a:lnTo>
                      <a:pt x="122" y="138"/>
                    </a:lnTo>
                    <a:lnTo>
                      <a:pt x="120" y="137"/>
                    </a:lnTo>
                    <a:lnTo>
                      <a:pt x="117" y="133"/>
                    </a:lnTo>
                    <a:lnTo>
                      <a:pt x="116" y="130"/>
                    </a:lnTo>
                    <a:lnTo>
                      <a:pt x="112" y="129"/>
                    </a:lnTo>
                    <a:lnTo>
                      <a:pt x="103" y="124"/>
                    </a:lnTo>
                    <a:lnTo>
                      <a:pt x="102" y="124"/>
                    </a:lnTo>
                    <a:lnTo>
                      <a:pt x="97" y="123"/>
                    </a:lnTo>
                    <a:lnTo>
                      <a:pt x="91" y="123"/>
                    </a:lnTo>
                    <a:lnTo>
                      <a:pt x="90" y="124"/>
                    </a:lnTo>
                    <a:lnTo>
                      <a:pt x="90" y="131"/>
                    </a:lnTo>
                    <a:lnTo>
                      <a:pt x="88" y="133"/>
                    </a:lnTo>
                    <a:lnTo>
                      <a:pt x="88" y="136"/>
                    </a:lnTo>
                    <a:lnTo>
                      <a:pt x="87" y="137"/>
                    </a:lnTo>
                    <a:lnTo>
                      <a:pt x="87" y="137"/>
                    </a:lnTo>
                    <a:lnTo>
                      <a:pt x="84" y="136"/>
                    </a:lnTo>
                    <a:lnTo>
                      <a:pt x="83" y="136"/>
                    </a:lnTo>
                    <a:lnTo>
                      <a:pt x="81" y="137"/>
                    </a:lnTo>
                    <a:lnTo>
                      <a:pt x="76" y="138"/>
                    </a:lnTo>
                    <a:lnTo>
                      <a:pt x="73" y="138"/>
                    </a:lnTo>
                    <a:lnTo>
                      <a:pt x="67" y="137"/>
                    </a:lnTo>
                    <a:lnTo>
                      <a:pt x="64" y="136"/>
                    </a:lnTo>
                    <a:lnTo>
                      <a:pt x="63" y="134"/>
                    </a:lnTo>
                    <a:lnTo>
                      <a:pt x="63" y="131"/>
                    </a:lnTo>
                    <a:lnTo>
                      <a:pt x="62" y="129"/>
                    </a:lnTo>
                    <a:lnTo>
                      <a:pt x="62" y="129"/>
                    </a:lnTo>
                    <a:lnTo>
                      <a:pt x="62" y="127"/>
                    </a:lnTo>
                    <a:lnTo>
                      <a:pt x="60" y="126"/>
                    </a:lnTo>
                    <a:lnTo>
                      <a:pt x="59" y="127"/>
                    </a:lnTo>
                    <a:lnTo>
                      <a:pt x="57" y="127"/>
                    </a:lnTo>
                    <a:lnTo>
                      <a:pt x="56" y="127"/>
                    </a:lnTo>
                    <a:lnTo>
                      <a:pt x="52" y="124"/>
                    </a:lnTo>
                    <a:lnTo>
                      <a:pt x="48" y="124"/>
                    </a:lnTo>
                    <a:lnTo>
                      <a:pt x="46" y="127"/>
                    </a:lnTo>
                    <a:lnTo>
                      <a:pt x="45" y="129"/>
                    </a:lnTo>
                    <a:lnTo>
                      <a:pt x="44" y="129"/>
                    </a:lnTo>
                    <a:lnTo>
                      <a:pt x="44" y="127"/>
                    </a:lnTo>
                    <a:lnTo>
                      <a:pt x="44" y="126"/>
                    </a:lnTo>
                    <a:lnTo>
                      <a:pt x="39" y="126"/>
                    </a:lnTo>
                    <a:lnTo>
                      <a:pt x="37" y="127"/>
                    </a:lnTo>
                    <a:lnTo>
                      <a:pt x="34" y="127"/>
                    </a:lnTo>
                    <a:lnTo>
                      <a:pt x="32" y="126"/>
                    </a:lnTo>
                    <a:lnTo>
                      <a:pt x="32" y="126"/>
                    </a:lnTo>
                    <a:lnTo>
                      <a:pt x="35" y="126"/>
                    </a:lnTo>
                    <a:lnTo>
                      <a:pt x="37" y="124"/>
                    </a:lnTo>
                    <a:lnTo>
                      <a:pt x="42" y="124"/>
                    </a:lnTo>
                    <a:lnTo>
                      <a:pt x="42" y="124"/>
                    </a:lnTo>
                    <a:lnTo>
                      <a:pt x="44" y="122"/>
                    </a:lnTo>
                    <a:lnTo>
                      <a:pt x="46" y="120"/>
                    </a:lnTo>
                    <a:lnTo>
                      <a:pt x="48" y="119"/>
                    </a:lnTo>
                    <a:lnTo>
                      <a:pt x="45" y="119"/>
                    </a:lnTo>
                    <a:lnTo>
                      <a:pt x="37" y="120"/>
                    </a:lnTo>
                    <a:lnTo>
                      <a:pt x="31" y="120"/>
                    </a:lnTo>
                    <a:lnTo>
                      <a:pt x="30" y="120"/>
                    </a:lnTo>
                    <a:lnTo>
                      <a:pt x="30" y="120"/>
                    </a:lnTo>
                    <a:lnTo>
                      <a:pt x="30" y="119"/>
                    </a:lnTo>
                    <a:lnTo>
                      <a:pt x="30" y="118"/>
                    </a:lnTo>
                    <a:lnTo>
                      <a:pt x="31" y="118"/>
                    </a:lnTo>
                    <a:lnTo>
                      <a:pt x="34" y="116"/>
                    </a:lnTo>
                    <a:lnTo>
                      <a:pt x="34" y="115"/>
                    </a:lnTo>
                    <a:lnTo>
                      <a:pt x="32" y="113"/>
                    </a:lnTo>
                    <a:lnTo>
                      <a:pt x="31" y="112"/>
                    </a:lnTo>
                    <a:lnTo>
                      <a:pt x="30" y="112"/>
                    </a:lnTo>
                    <a:lnTo>
                      <a:pt x="28" y="111"/>
                    </a:lnTo>
                    <a:lnTo>
                      <a:pt x="28" y="109"/>
                    </a:lnTo>
                    <a:lnTo>
                      <a:pt x="27" y="106"/>
                    </a:lnTo>
                    <a:lnTo>
                      <a:pt x="25" y="105"/>
                    </a:lnTo>
                    <a:lnTo>
                      <a:pt x="25" y="105"/>
                    </a:lnTo>
                    <a:lnTo>
                      <a:pt x="28" y="104"/>
                    </a:lnTo>
                    <a:lnTo>
                      <a:pt x="30" y="99"/>
                    </a:lnTo>
                    <a:lnTo>
                      <a:pt x="28" y="98"/>
                    </a:lnTo>
                    <a:lnTo>
                      <a:pt x="27" y="98"/>
                    </a:lnTo>
                    <a:lnTo>
                      <a:pt x="24" y="95"/>
                    </a:lnTo>
                    <a:lnTo>
                      <a:pt x="23" y="97"/>
                    </a:lnTo>
                    <a:lnTo>
                      <a:pt x="21" y="94"/>
                    </a:lnTo>
                    <a:lnTo>
                      <a:pt x="18" y="92"/>
                    </a:lnTo>
                    <a:lnTo>
                      <a:pt x="17" y="94"/>
                    </a:lnTo>
                    <a:lnTo>
                      <a:pt x="17" y="94"/>
                    </a:lnTo>
                    <a:lnTo>
                      <a:pt x="16" y="94"/>
                    </a:lnTo>
                    <a:lnTo>
                      <a:pt x="14" y="92"/>
                    </a:lnTo>
                    <a:lnTo>
                      <a:pt x="13" y="91"/>
                    </a:lnTo>
                    <a:lnTo>
                      <a:pt x="12" y="91"/>
                    </a:lnTo>
                    <a:lnTo>
                      <a:pt x="13" y="88"/>
                    </a:lnTo>
                    <a:lnTo>
                      <a:pt x="14" y="88"/>
                    </a:lnTo>
                    <a:lnTo>
                      <a:pt x="14" y="87"/>
                    </a:lnTo>
                    <a:lnTo>
                      <a:pt x="13" y="84"/>
                    </a:lnTo>
                    <a:lnTo>
                      <a:pt x="13" y="83"/>
                    </a:lnTo>
                    <a:lnTo>
                      <a:pt x="14" y="83"/>
                    </a:lnTo>
                    <a:lnTo>
                      <a:pt x="16" y="83"/>
                    </a:lnTo>
                    <a:lnTo>
                      <a:pt x="17" y="84"/>
                    </a:lnTo>
                    <a:lnTo>
                      <a:pt x="17" y="85"/>
                    </a:lnTo>
                    <a:lnTo>
                      <a:pt x="17" y="88"/>
                    </a:lnTo>
                    <a:lnTo>
                      <a:pt x="18" y="90"/>
                    </a:lnTo>
                    <a:lnTo>
                      <a:pt x="18" y="90"/>
                    </a:lnTo>
                    <a:lnTo>
                      <a:pt x="18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3" y="88"/>
                    </a:lnTo>
                    <a:lnTo>
                      <a:pt x="27" y="88"/>
                    </a:lnTo>
                    <a:lnTo>
                      <a:pt x="27" y="87"/>
                    </a:lnTo>
                    <a:lnTo>
                      <a:pt x="24" y="87"/>
                    </a:lnTo>
                    <a:lnTo>
                      <a:pt x="23" y="87"/>
                    </a:lnTo>
                    <a:lnTo>
                      <a:pt x="21" y="84"/>
                    </a:lnTo>
                    <a:lnTo>
                      <a:pt x="21" y="83"/>
                    </a:lnTo>
                    <a:lnTo>
                      <a:pt x="21" y="83"/>
                    </a:lnTo>
                    <a:lnTo>
                      <a:pt x="20" y="81"/>
                    </a:lnTo>
                    <a:lnTo>
                      <a:pt x="21" y="80"/>
                    </a:lnTo>
                    <a:lnTo>
                      <a:pt x="23" y="80"/>
                    </a:lnTo>
                    <a:lnTo>
                      <a:pt x="25" y="77"/>
                    </a:lnTo>
                    <a:lnTo>
                      <a:pt x="24" y="76"/>
                    </a:lnTo>
                    <a:lnTo>
                      <a:pt x="23" y="76"/>
                    </a:lnTo>
                    <a:lnTo>
                      <a:pt x="23" y="76"/>
                    </a:lnTo>
                    <a:lnTo>
                      <a:pt x="21" y="76"/>
                    </a:lnTo>
                    <a:lnTo>
                      <a:pt x="21" y="74"/>
                    </a:lnTo>
                    <a:lnTo>
                      <a:pt x="21" y="73"/>
                    </a:lnTo>
                    <a:lnTo>
                      <a:pt x="21" y="72"/>
                    </a:lnTo>
                    <a:lnTo>
                      <a:pt x="20" y="69"/>
                    </a:lnTo>
                    <a:lnTo>
                      <a:pt x="18" y="67"/>
                    </a:lnTo>
                    <a:lnTo>
                      <a:pt x="20" y="66"/>
                    </a:lnTo>
                    <a:lnTo>
                      <a:pt x="21" y="65"/>
                    </a:lnTo>
                    <a:lnTo>
                      <a:pt x="23" y="62"/>
                    </a:lnTo>
                    <a:lnTo>
                      <a:pt x="23" y="62"/>
                    </a:lnTo>
                    <a:lnTo>
                      <a:pt x="21" y="60"/>
                    </a:lnTo>
                    <a:lnTo>
                      <a:pt x="16" y="62"/>
                    </a:lnTo>
                    <a:lnTo>
                      <a:pt x="13" y="63"/>
                    </a:lnTo>
                    <a:lnTo>
                      <a:pt x="9" y="63"/>
                    </a:lnTo>
                    <a:lnTo>
                      <a:pt x="9" y="62"/>
                    </a:lnTo>
                    <a:lnTo>
                      <a:pt x="9" y="60"/>
                    </a:lnTo>
                    <a:lnTo>
                      <a:pt x="9" y="59"/>
                    </a:lnTo>
                    <a:lnTo>
                      <a:pt x="9" y="53"/>
                    </a:lnTo>
                    <a:lnTo>
                      <a:pt x="10" y="51"/>
                    </a:lnTo>
                    <a:lnTo>
                      <a:pt x="12" y="51"/>
                    </a:lnTo>
                    <a:lnTo>
                      <a:pt x="16" y="46"/>
                    </a:lnTo>
                    <a:lnTo>
                      <a:pt x="20" y="41"/>
                    </a:lnTo>
                    <a:lnTo>
                      <a:pt x="25" y="41"/>
                    </a:lnTo>
                    <a:lnTo>
                      <a:pt x="27" y="39"/>
                    </a:lnTo>
                    <a:lnTo>
                      <a:pt x="30" y="39"/>
                    </a:lnTo>
                    <a:lnTo>
                      <a:pt x="30" y="41"/>
                    </a:lnTo>
                    <a:lnTo>
                      <a:pt x="31" y="42"/>
                    </a:lnTo>
                    <a:lnTo>
                      <a:pt x="34" y="44"/>
                    </a:lnTo>
                    <a:lnTo>
                      <a:pt x="38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8" y="39"/>
                    </a:lnTo>
                    <a:lnTo>
                      <a:pt x="38" y="38"/>
                    </a:lnTo>
                    <a:lnTo>
                      <a:pt x="41" y="38"/>
                    </a:lnTo>
                    <a:lnTo>
                      <a:pt x="42" y="39"/>
                    </a:lnTo>
                    <a:lnTo>
                      <a:pt x="42" y="39"/>
                    </a:lnTo>
                    <a:lnTo>
                      <a:pt x="42" y="41"/>
                    </a:lnTo>
                    <a:lnTo>
                      <a:pt x="41" y="42"/>
                    </a:lnTo>
                    <a:lnTo>
                      <a:pt x="42" y="42"/>
                    </a:lnTo>
                    <a:lnTo>
                      <a:pt x="48" y="41"/>
                    </a:lnTo>
                    <a:lnTo>
                      <a:pt x="55" y="42"/>
                    </a:lnTo>
                    <a:lnTo>
                      <a:pt x="56" y="41"/>
                    </a:lnTo>
                    <a:lnTo>
                      <a:pt x="62" y="41"/>
                    </a:lnTo>
                    <a:lnTo>
                      <a:pt x="62" y="41"/>
                    </a:lnTo>
                    <a:lnTo>
                      <a:pt x="60" y="39"/>
                    </a:lnTo>
                    <a:lnTo>
                      <a:pt x="59" y="39"/>
                    </a:lnTo>
                    <a:lnTo>
                      <a:pt x="57" y="38"/>
                    </a:lnTo>
                    <a:lnTo>
                      <a:pt x="57" y="38"/>
                    </a:lnTo>
                    <a:lnTo>
                      <a:pt x="60" y="35"/>
                    </a:lnTo>
                    <a:lnTo>
                      <a:pt x="62" y="35"/>
                    </a:lnTo>
                    <a:lnTo>
                      <a:pt x="70" y="34"/>
                    </a:lnTo>
                    <a:lnTo>
                      <a:pt x="76" y="32"/>
                    </a:lnTo>
                    <a:lnTo>
                      <a:pt x="77" y="32"/>
                    </a:lnTo>
                    <a:lnTo>
                      <a:pt x="76" y="32"/>
                    </a:lnTo>
                    <a:lnTo>
                      <a:pt x="67" y="31"/>
                    </a:lnTo>
                    <a:lnTo>
                      <a:pt x="66" y="31"/>
                    </a:lnTo>
                    <a:lnTo>
                      <a:pt x="63" y="28"/>
                    </a:lnTo>
                    <a:lnTo>
                      <a:pt x="63" y="28"/>
                    </a:lnTo>
                    <a:lnTo>
                      <a:pt x="62" y="27"/>
                    </a:lnTo>
                    <a:lnTo>
                      <a:pt x="62" y="24"/>
                    </a:lnTo>
                    <a:lnTo>
                      <a:pt x="63" y="23"/>
                    </a:lnTo>
                    <a:lnTo>
                      <a:pt x="63" y="21"/>
                    </a:lnTo>
                    <a:lnTo>
                      <a:pt x="67" y="21"/>
                    </a:lnTo>
                    <a:lnTo>
                      <a:pt x="77" y="23"/>
                    </a:lnTo>
                    <a:lnTo>
                      <a:pt x="85" y="23"/>
                    </a:lnTo>
                    <a:lnTo>
                      <a:pt x="94" y="26"/>
                    </a:lnTo>
                    <a:lnTo>
                      <a:pt x="102" y="24"/>
                    </a:lnTo>
                    <a:lnTo>
                      <a:pt x="103" y="23"/>
                    </a:lnTo>
                    <a:lnTo>
                      <a:pt x="105" y="19"/>
                    </a:lnTo>
                    <a:lnTo>
                      <a:pt x="117" y="13"/>
                    </a:lnTo>
                    <a:lnTo>
                      <a:pt x="122" y="9"/>
                    </a:lnTo>
                    <a:lnTo>
                      <a:pt x="126" y="7"/>
                    </a:lnTo>
                    <a:lnTo>
                      <a:pt x="133" y="6"/>
                    </a:lnTo>
                    <a:lnTo>
                      <a:pt x="138" y="3"/>
                    </a:lnTo>
                    <a:lnTo>
                      <a:pt x="141" y="2"/>
                    </a:lnTo>
                    <a:lnTo>
                      <a:pt x="155" y="3"/>
                    </a:lnTo>
                    <a:lnTo>
                      <a:pt x="165" y="3"/>
                    </a:lnTo>
                    <a:lnTo>
                      <a:pt x="170" y="2"/>
                    </a:lnTo>
                    <a:lnTo>
                      <a:pt x="173" y="2"/>
                    </a:lnTo>
                    <a:lnTo>
                      <a:pt x="173" y="3"/>
                    </a:lnTo>
                    <a:lnTo>
                      <a:pt x="172" y="3"/>
                    </a:lnTo>
                    <a:lnTo>
                      <a:pt x="172" y="6"/>
                    </a:lnTo>
                    <a:lnTo>
                      <a:pt x="173" y="7"/>
                    </a:lnTo>
                    <a:lnTo>
                      <a:pt x="176" y="9"/>
                    </a:lnTo>
                    <a:lnTo>
                      <a:pt x="180" y="12"/>
                    </a:lnTo>
                    <a:lnTo>
                      <a:pt x="187" y="10"/>
                    </a:lnTo>
                    <a:lnTo>
                      <a:pt x="187" y="10"/>
                    </a:lnTo>
                    <a:lnTo>
                      <a:pt x="188" y="10"/>
                    </a:lnTo>
                    <a:lnTo>
                      <a:pt x="191" y="17"/>
                    </a:lnTo>
                    <a:lnTo>
                      <a:pt x="193" y="19"/>
                    </a:lnTo>
                    <a:lnTo>
                      <a:pt x="195" y="20"/>
                    </a:lnTo>
                    <a:lnTo>
                      <a:pt x="197" y="20"/>
                    </a:lnTo>
                    <a:lnTo>
                      <a:pt x="198" y="19"/>
                    </a:lnTo>
                    <a:lnTo>
                      <a:pt x="200" y="19"/>
                    </a:lnTo>
                    <a:lnTo>
                      <a:pt x="202" y="19"/>
                    </a:lnTo>
                    <a:lnTo>
                      <a:pt x="207" y="20"/>
                    </a:lnTo>
                    <a:lnTo>
                      <a:pt x="208" y="23"/>
                    </a:lnTo>
                    <a:lnTo>
                      <a:pt x="214" y="24"/>
                    </a:lnTo>
                    <a:lnTo>
                      <a:pt x="220" y="26"/>
                    </a:lnTo>
                    <a:lnTo>
                      <a:pt x="223" y="27"/>
                    </a:lnTo>
                    <a:lnTo>
                      <a:pt x="232" y="28"/>
                    </a:lnTo>
                    <a:lnTo>
                      <a:pt x="234" y="28"/>
                    </a:lnTo>
                    <a:lnTo>
                      <a:pt x="240" y="27"/>
                    </a:lnTo>
                    <a:lnTo>
                      <a:pt x="250" y="24"/>
                    </a:lnTo>
                    <a:lnTo>
                      <a:pt x="257" y="27"/>
                    </a:lnTo>
                    <a:lnTo>
                      <a:pt x="259" y="28"/>
                    </a:lnTo>
                    <a:lnTo>
                      <a:pt x="261" y="27"/>
                    </a:lnTo>
                    <a:lnTo>
                      <a:pt x="264" y="28"/>
                    </a:lnTo>
                    <a:lnTo>
                      <a:pt x="265" y="28"/>
                    </a:lnTo>
                    <a:lnTo>
                      <a:pt x="273" y="24"/>
                    </a:lnTo>
                    <a:lnTo>
                      <a:pt x="276" y="23"/>
                    </a:lnTo>
                    <a:lnTo>
                      <a:pt x="278" y="21"/>
                    </a:lnTo>
                    <a:lnTo>
                      <a:pt x="280" y="20"/>
                    </a:lnTo>
                    <a:lnTo>
                      <a:pt x="286" y="17"/>
                    </a:lnTo>
                    <a:lnTo>
                      <a:pt x="287" y="14"/>
                    </a:lnTo>
                    <a:close/>
                    <a:moveTo>
                      <a:pt x="6" y="48"/>
                    </a:moveTo>
                    <a:lnTo>
                      <a:pt x="2" y="48"/>
                    </a:lnTo>
                    <a:lnTo>
                      <a:pt x="0" y="48"/>
                    </a:lnTo>
                    <a:lnTo>
                      <a:pt x="2" y="46"/>
                    </a:lnTo>
                    <a:lnTo>
                      <a:pt x="5" y="45"/>
                    </a:lnTo>
                    <a:lnTo>
                      <a:pt x="5" y="45"/>
                    </a:lnTo>
                    <a:lnTo>
                      <a:pt x="6" y="46"/>
                    </a:lnTo>
                    <a:lnTo>
                      <a:pt x="6" y="48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31" name="Ukraine">
                <a:extLst>
                  <a:ext uri="{FF2B5EF4-FFF2-40B4-BE49-F238E27FC236}">
                    <a16:creationId xmlns:a16="http://schemas.microsoft.com/office/drawing/2014/main" id="{8AD27187-FA1B-643B-F3E2-F149E87114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0475" y="2655844"/>
                <a:ext cx="254963" cy="169715"/>
              </a:xfrm>
              <a:custGeom>
                <a:avLst/>
                <a:gdLst>
                  <a:gd name="T0" fmla="*/ 262 w 326"/>
                  <a:gd name="T1" fmla="*/ 156 h 217"/>
                  <a:gd name="T2" fmla="*/ 234 w 326"/>
                  <a:gd name="T3" fmla="*/ 173 h 217"/>
                  <a:gd name="T4" fmla="*/ 232 w 326"/>
                  <a:gd name="T5" fmla="*/ 180 h 217"/>
                  <a:gd name="T6" fmla="*/ 257 w 326"/>
                  <a:gd name="T7" fmla="*/ 189 h 217"/>
                  <a:gd name="T8" fmla="*/ 248 w 326"/>
                  <a:gd name="T9" fmla="*/ 201 h 217"/>
                  <a:gd name="T10" fmla="*/ 218 w 326"/>
                  <a:gd name="T11" fmla="*/ 216 h 217"/>
                  <a:gd name="T12" fmla="*/ 205 w 326"/>
                  <a:gd name="T13" fmla="*/ 196 h 217"/>
                  <a:gd name="T14" fmla="*/ 206 w 326"/>
                  <a:gd name="T15" fmla="*/ 180 h 217"/>
                  <a:gd name="T16" fmla="*/ 186 w 326"/>
                  <a:gd name="T17" fmla="*/ 173 h 217"/>
                  <a:gd name="T18" fmla="*/ 174 w 326"/>
                  <a:gd name="T19" fmla="*/ 163 h 217"/>
                  <a:gd name="T20" fmla="*/ 181 w 326"/>
                  <a:gd name="T21" fmla="*/ 160 h 217"/>
                  <a:gd name="T22" fmla="*/ 177 w 326"/>
                  <a:gd name="T23" fmla="*/ 152 h 217"/>
                  <a:gd name="T24" fmla="*/ 158 w 326"/>
                  <a:gd name="T25" fmla="*/ 162 h 217"/>
                  <a:gd name="T26" fmla="*/ 140 w 326"/>
                  <a:gd name="T27" fmla="*/ 182 h 217"/>
                  <a:gd name="T28" fmla="*/ 128 w 326"/>
                  <a:gd name="T29" fmla="*/ 191 h 217"/>
                  <a:gd name="T30" fmla="*/ 112 w 326"/>
                  <a:gd name="T31" fmla="*/ 192 h 217"/>
                  <a:gd name="T32" fmla="*/ 119 w 326"/>
                  <a:gd name="T33" fmla="*/ 181 h 217"/>
                  <a:gd name="T34" fmla="*/ 126 w 326"/>
                  <a:gd name="T35" fmla="*/ 163 h 217"/>
                  <a:gd name="T36" fmla="*/ 133 w 326"/>
                  <a:gd name="T37" fmla="*/ 164 h 217"/>
                  <a:gd name="T38" fmla="*/ 145 w 326"/>
                  <a:gd name="T39" fmla="*/ 164 h 217"/>
                  <a:gd name="T40" fmla="*/ 134 w 326"/>
                  <a:gd name="T41" fmla="*/ 148 h 217"/>
                  <a:gd name="T42" fmla="*/ 127 w 326"/>
                  <a:gd name="T43" fmla="*/ 136 h 217"/>
                  <a:gd name="T44" fmla="*/ 123 w 326"/>
                  <a:gd name="T45" fmla="*/ 124 h 217"/>
                  <a:gd name="T46" fmla="*/ 113 w 326"/>
                  <a:gd name="T47" fmla="*/ 117 h 217"/>
                  <a:gd name="T48" fmla="*/ 99 w 326"/>
                  <a:gd name="T49" fmla="*/ 110 h 217"/>
                  <a:gd name="T50" fmla="*/ 81 w 326"/>
                  <a:gd name="T51" fmla="*/ 116 h 217"/>
                  <a:gd name="T52" fmla="*/ 52 w 326"/>
                  <a:gd name="T53" fmla="*/ 131 h 217"/>
                  <a:gd name="T54" fmla="*/ 34 w 326"/>
                  <a:gd name="T55" fmla="*/ 124 h 217"/>
                  <a:gd name="T56" fmla="*/ 14 w 326"/>
                  <a:gd name="T57" fmla="*/ 124 h 217"/>
                  <a:gd name="T58" fmla="*/ 7 w 326"/>
                  <a:gd name="T59" fmla="*/ 117 h 217"/>
                  <a:gd name="T60" fmla="*/ 0 w 326"/>
                  <a:gd name="T61" fmla="*/ 107 h 217"/>
                  <a:gd name="T62" fmla="*/ 13 w 326"/>
                  <a:gd name="T63" fmla="*/ 95 h 217"/>
                  <a:gd name="T64" fmla="*/ 10 w 326"/>
                  <a:gd name="T65" fmla="*/ 79 h 217"/>
                  <a:gd name="T66" fmla="*/ 35 w 326"/>
                  <a:gd name="T67" fmla="*/ 53 h 217"/>
                  <a:gd name="T68" fmla="*/ 34 w 326"/>
                  <a:gd name="T69" fmla="*/ 40 h 217"/>
                  <a:gd name="T70" fmla="*/ 28 w 326"/>
                  <a:gd name="T71" fmla="*/ 21 h 217"/>
                  <a:gd name="T72" fmla="*/ 45 w 326"/>
                  <a:gd name="T73" fmla="*/ 14 h 217"/>
                  <a:gd name="T74" fmla="*/ 78 w 326"/>
                  <a:gd name="T75" fmla="*/ 15 h 217"/>
                  <a:gd name="T76" fmla="*/ 101 w 326"/>
                  <a:gd name="T77" fmla="*/ 22 h 217"/>
                  <a:gd name="T78" fmla="*/ 112 w 326"/>
                  <a:gd name="T79" fmla="*/ 22 h 217"/>
                  <a:gd name="T80" fmla="*/ 126 w 326"/>
                  <a:gd name="T81" fmla="*/ 22 h 217"/>
                  <a:gd name="T82" fmla="*/ 141 w 326"/>
                  <a:gd name="T83" fmla="*/ 26 h 217"/>
                  <a:gd name="T84" fmla="*/ 154 w 326"/>
                  <a:gd name="T85" fmla="*/ 25 h 217"/>
                  <a:gd name="T86" fmla="*/ 165 w 326"/>
                  <a:gd name="T87" fmla="*/ 8 h 217"/>
                  <a:gd name="T88" fmla="*/ 186 w 326"/>
                  <a:gd name="T89" fmla="*/ 1 h 217"/>
                  <a:gd name="T90" fmla="*/ 211 w 326"/>
                  <a:gd name="T91" fmla="*/ 0 h 217"/>
                  <a:gd name="T92" fmla="*/ 218 w 326"/>
                  <a:gd name="T93" fmla="*/ 21 h 217"/>
                  <a:gd name="T94" fmla="*/ 227 w 326"/>
                  <a:gd name="T95" fmla="*/ 33 h 217"/>
                  <a:gd name="T96" fmla="*/ 240 w 326"/>
                  <a:gd name="T97" fmla="*/ 38 h 217"/>
                  <a:gd name="T98" fmla="*/ 241 w 326"/>
                  <a:gd name="T99" fmla="*/ 53 h 217"/>
                  <a:gd name="T100" fmla="*/ 258 w 326"/>
                  <a:gd name="T101" fmla="*/ 60 h 217"/>
                  <a:gd name="T102" fmla="*/ 276 w 326"/>
                  <a:gd name="T103" fmla="*/ 56 h 217"/>
                  <a:gd name="T104" fmla="*/ 291 w 326"/>
                  <a:gd name="T105" fmla="*/ 67 h 217"/>
                  <a:gd name="T106" fmla="*/ 311 w 326"/>
                  <a:gd name="T107" fmla="*/ 72 h 217"/>
                  <a:gd name="T108" fmla="*/ 326 w 326"/>
                  <a:gd name="T109" fmla="*/ 81 h 217"/>
                  <a:gd name="T110" fmla="*/ 319 w 326"/>
                  <a:gd name="T111" fmla="*/ 96 h 217"/>
                  <a:gd name="T112" fmla="*/ 318 w 326"/>
                  <a:gd name="T113" fmla="*/ 107 h 217"/>
                  <a:gd name="T114" fmla="*/ 323 w 326"/>
                  <a:gd name="T115" fmla="*/ 117 h 217"/>
                  <a:gd name="T116" fmla="*/ 303 w 326"/>
                  <a:gd name="T117" fmla="*/ 127 h 217"/>
                  <a:gd name="T118" fmla="*/ 291 w 326"/>
                  <a:gd name="T119" fmla="*/ 142 h 217"/>
                  <a:gd name="T120" fmla="*/ 180 w 326"/>
                  <a:gd name="T121" fmla="*/ 171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26" h="217">
                    <a:moveTo>
                      <a:pt x="293" y="148"/>
                    </a:moveTo>
                    <a:lnTo>
                      <a:pt x="291" y="148"/>
                    </a:lnTo>
                    <a:lnTo>
                      <a:pt x="284" y="148"/>
                    </a:lnTo>
                    <a:lnTo>
                      <a:pt x="280" y="148"/>
                    </a:lnTo>
                    <a:lnTo>
                      <a:pt x="276" y="152"/>
                    </a:lnTo>
                    <a:lnTo>
                      <a:pt x="275" y="152"/>
                    </a:lnTo>
                    <a:lnTo>
                      <a:pt x="271" y="153"/>
                    </a:lnTo>
                    <a:lnTo>
                      <a:pt x="269" y="155"/>
                    </a:lnTo>
                    <a:lnTo>
                      <a:pt x="266" y="157"/>
                    </a:lnTo>
                    <a:lnTo>
                      <a:pt x="265" y="156"/>
                    </a:lnTo>
                    <a:lnTo>
                      <a:pt x="262" y="156"/>
                    </a:lnTo>
                    <a:lnTo>
                      <a:pt x="259" y="157"/>
                    </a:lnTo>
                    <a:lnTo>
                      <a:pt x="257" y="159"/>
                    </a:lnTo>
                    <a:lnTo>
                      <a:pt x="255" y="159"/>
                    </a:lnTo>
                    <a:lnTo>
                      <a:pt x="252" y="159"/>
                    </a:lnTo>
                    <a:lnTo>
                      <a:pt x="248" y="160"/>
                    </a:lnTo>
                    <a:lnTo>
                      <a:pt x="241" y="166"/>
                    </a:lnTo>
                    <a:lnTo>
                      <a:pt x="239" y="171"/>
                    </a:lnTo>
                    <a:lnTo>
                      <a:pt x="237" y="171"/>
                    </a:lnTo>
                    <a:lnTo>
                      <a:pt x="236" y="173"/>
                    </a:lnTo>
                    <a:lnTo>
                      <a:pt x="234" y="173"/>
                    </a:lnTo>
                    <a:lnTo>
                      <a:pt x="234" y="173"/>
                    </a:lnTo>
                    <a:lnTo>
                      <a:pt x="237" y="170"/>
                    </a:lnTo>
                    <a:lnTo>
                      <a:pt x="239" y="169"/>
                    </a:lnTo>
                    <a:lnTo>
                      <a:pt x="239" y="167"/>
                    </a:lnTo>
                    <a:lnTo>
                      <a:pt x="239" y="166"/>
                    </a:lnTo>
                    <a:lnTo>
                      <a:pt x="239" y="164"/>
                    </a:lnTo>
                    <a:lnTo>
                      <a:pt x="234" y="169"/>
                    </a:lnTo>
                    <a:lnTo>
                      <a:pt x="233" y="170"/>
                    </a:lnTo>
                    <a:lnTo>
                      <a:pt x="232" y="171"/>
                    </a:lnTo>
                    <a:lnTo>
                      <a:pt x="232" y="174"/>
                    </a:lnTo>
                    <a:lnTo>
                      <a:pt x="232" y="177"/>
                    </a:lnTo>
                    <a:lnTo>
                      <a:pt x="232" y="180"/>
                    </a:lnTo>
                    <a:lnTo>
                      <a:pt x="234" y="184"/>
                    </a:lnTo>
                    <a:lnTo>
                      <a:pt x="239" y="191"/>
                    </a:lnTo>
                    <a:lnTo>
                      <a:pt x="240" y="192"/>
                    </a:lnTo>
                    <a:lnTo>
                      <a:pt x="243" y="194"/>
                    </a:lnTo>
                    <a:lnTo>
                      <a:pt x="244" y="194"/>
                    </a:lnTo>
                    <a:lnTo>
                      <a:pt x="247" y="192"/>
                    </a:lnTo>
                    <a:lnTo>
                      <a:pt x="248" y="191"/>
                    </a:lnTo>
                    <a:lnTo>
                      <a:pt x="252" y="192"/>
                    </a:lnTo>
                    <a:lnTo>
                      <a:pt x="254" y="191"/>
                    </a:lnTo>
                    <a:lnTo>
                      <a:pt x="255" y="191"/>
                    </a:lnTo>
                    <a:lnTo>
                      <a:pt x="257" y="189"/>
                    </a:lnTo>
                    <a:lnTo>
                      <a:pt x="259" y="191"/>
                    </a:lnTo>
                    <a:lnTo>
                      <a:pt x="262" y="192"/>
                    </a:lnTo>
                    <a:lnTo>
                      <a:pt x="261" y="194"/>
                    </a:lnTo>
                    <a:lnTo>
                      <a:pt x="261" y="196"/>
                    </a:lnTo>
                    <a:lnTo>
                      <a:pt x="259" y="198"/>
                    </a:lnTo>
                    <a:lnTo>
                      <a:pt x="259" y="201"/>
                    </a:lnTo>
                    <a:lnTo>
                      <a:pt x="257" y="201"/>
                    </a:lnTo>
                    <a:lnTo>
                      <a:pt x="252" y="201"/>
                    </a:lnTo>
                    <a:lnTo>
                      <a:pt x="250" y="202"/>
                    </a:lnTo>
                    <a:lnTo>
                      <a:pt x="248" y="201"/>
                    </a:lnTo>
                    <a:lnTo>
                      <a:pt x="248" y="201"/>
                    </a:lnTo>
                    <a:lnTo>
                      <a:pt x="245" y="199"/>
                    </a:lnTo>
                    <a:lnTo>
                      <a:pt x="244" y="199"/>
                    </a:lnTo>
                    <a:lnTo>
                      <a:pt x="243" y="199"/>
                    </a:lnTo>
                    <a:lnTo>
                      <a:pt x="240" y="202"/>
                    </a:lnTo>
                    <a:lnTo>
                      <a:pt x="237" y="205"/>
                    </a:lnTo>
                    <a:lnTo>
                      <a:pt x="236" y="206"/>
                    </a:lnTo>
                    <a:lnTo>
                      <a:pt x="232" y="206"/>
                    </a:lnTo>
                    <a:lnTo>
                      <a:pt x="229" y="206"/>
                    </a:lnTo>
                    <a:lnTo>
                      <a:pt x="225" y="209"/>
                    </a:lnTo>
                    <a:lnTo>
                      <a:pt x="220" y="213"/>
                    </a:lnTo>
                    <a:lnTo>
                      <a:pt x="218" y="216"/>
                    </a:lnTo>
                    <a:lnTo>
                      <a:pt x="213" y="217"/>
                    </a:lnTo>
                    <a:lnTo>
                      <a:pt x="211" y="217"/>
                    </a:lnTo>
                    <a:lnTo>
                      <a:pt x="209" y="216"/>
                    </a:lnTo>
                    <a:lnTo>
                      <a:pt x="205" y="213"/>
                    </a:lnTo>
                    <a:lnTo>
                      <a:pt x="206" y="212"/>
                    </a:lnTo>
                    <a:lnTo>
                      <a:pt x="206" y="212"/>
                    </a:lnTo>
                    <a:lnTo>
                      <a:pt x="206" y="210"/>
                    </a:lnTo>
                    <a:lnTo>
                      <a:pt x="209" y="205"/>
                    </a:lnTo>
                    <a:lnTo>
                      <a:pt x="208" y="202"/>
                    </a:lnTo>
                    <a:lnTo>
                      <a:pt x="208" y="199"/>
                    </a:lnTo>
                    <a:lnTo>
                      <a:pt x="205" y="196"/>
                    </a:lnTo>
                    <a:lnTo>
                      <a:pt x="202" y="198"/>
                    </a:lnTo>
                    <a:lnTo>
                      <a:pt x="201" y="196"/>
                    </a:lnTo>
                    <a:lnTo>
                      <a:pt x="195" y="192"/>
                    </a:lnTo>
                    <a:lnTo>
                      <a:pt x="194" y="192"/>
                    </a:lnTo>
                    <a:lnTo>
                      <a:pt x="190" y="194"/>
                    </a:lnTo>
                    <a:lnTo>
                      <a:pt x="190" y="192"/>
                    </a:lnTo>
                    <a:lnTo>
                      <a:pt x="188" y="191"/>
                    </a:lnTo>
                    <a:lnTo>
                      <a:pt x="194" y="187"/>
                    </a:lnTo>
                    <a:lnTo>
                      <a:pt x="200" y="182"/>
                    </a:lnTo>
                    <a:lnTo>
                      <a:pt x="202" y="182"/>
                    </a:lnTo>
                    <a:lnTo>
                      <a:pt x="206" y="180"/>
                    </a:lnTo>
                    <a:lnTo>
                      <a:pt x="209" y="177"/>
                    </a:lnTo>
                    <a:lnTo>
                      <a:pt x="209" y="176"/>
                    </a:lnTo>
                    <a:lnTo>
                      <a:pt x="208" y="174"/>
                    </a:lnTo>
                    <a:lnTo>
                      <a:pt x="206" y="174"/>
                    </a:lnTo>
                    <a:lnTo>
                      <a:pt x="205" y="174"/>
                    </a:lnTo>
                    <a:lnTo>
                      <a:pt x="202" y="173"/>
                    </a:lnTo>
                    <a:lnTo>
                      <a:pt x="201" y="171"/>
                    </a:lnTo>
                    <a:lnTo>
                      <a:pt x="197" y="173"/>
                    </a:lnTo>
                    <a:lnTo>
                      <a:pt x="194" y="173"/>
                    </a:lnTo>
                    <a:lnTo>
                      <a:pt x="188" y="174"/>
                    </a:lnTo>
                    <a:lnTo>
                      <a:pt x="186" y="173"/>
                    </a:lnTo>
                    <a:lnTo>
                      <a:pt x="180" y="169"/>
                    </a:lnTo>
                    <a:lnTo>
                      <a:pt x="179" y="169"/>
                    </a:lnTo>
                    <a:lnTo>
                      <a:pt x="176" y="169"/>
                    </a:lnTo>
                    <a:lnTo>
                      <a:pt x="176" y="167"/>
                    </a:lnTo>
                    <a:lnTo>
                      <a:pt x="176" y="167"/>
                    </a:lnTo>
                    <a:lnTo>
                      <a:pt x="177" y="167"/>
                    </a:lnTo>
                    <a:lnTo>
                      <a:pt x="179" y="167"/>
                    </a:lnTo>
                    <a:lnTo>
                      <a:pt x="180" y="166"/>
                    </a:lnTo>
                    <a:lnTo>
                      <a:pt x="180" y="164"/>
                    </a:lnTo>
                    <a:lnTo>
                      <a:pt x="177" y="164"/>
                    </a:lnTo>
                    <a:lnTo>
                      <a:pt x="174" y="163"/>
                    </a:lnTo>
                    <a:lnTo>
                      <a:pt x="173" y="163"/>
                    </a:lnTo>
                    <a:lnTo>
                      <a:pt x="172" y="162"/>
                    </a:lnTo>
                    <a:lnTo>
                      <a:pt x="174" y="162"/>
                    </a:lnTo>
                    <a:lnTo>
                      <a:pt x="177" y="163"/>
                    </a:lnTo>
                    <a:lnTo>
                      <a:pt x="181" y="163"/>
                    </a:lnTo>
                    <a:lnTo>
                      <a:pt x="186" y="163"/>
                    </a:lnTo>
                    <a:lnTo>
                      <a:pt x="187" y="163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86" y="162"/>
                    </a:lnTo>
                    <a:lnTo>
                      <a:pt x="181" y="160"/>
                    </a:lnTo>
                    <a:lnTo>
                      <a:pt x="180" y="159"/>
                    </a:lnTo>
                    <a:lnTo>
                      <a:pt x="179" y="157"/>
                    </a:lnTo>
                    <a:lnTo>
                      <a:pt x="179" y="156"/>
                    </a:lnTo>
                    <a:lnTo>
                      <a:pt x="179" y="153"/>
                    </a:lnTo>
                    <a:lnTo>
                      <a:pt x="179" y="150"/>
                    </a:lnTo>
                    <a:lnTo>
                      <a:pt x="177" y="148"/>
                    </a:lnTo>
                    <a:lnTo>
                      <a:pt x="176" y="145"/>
                    </a:lnTo>
                    <a:lnTo>
                      <a:pt x="174" y="143"/>
                    </a:lnTo>
                    <a:lnTo>
                      <a:pt x="176" y="148"/>
                    </a:lnTo>
                    <a:lnTo>
                      <a:pt x="177" y="149"/>
                    </a:lnTo>
                    <a:lnTo>
                      <a:pt x="177" y="152"/>
                    </a:lnTo>
                    <a:lnTo>
                      <a:pt x="177" y="157"/>
                    </a:lnTo>
                    <a:lnTo>
                      <a:pt x="177" y="159"/>
                    </a:lnTo>
                    <a:lnTo>
                      <a:pt x="176" y="159"/>
                    </a:lnTo>
                    <a:lnTo>
                      <a:pt x="173" y="159"/>
                    </a:lnTo>
                    <a:lnTo>
                      <a:pt x="170" y="159"/>
                    </a:lnTo>
                    <a:lnTo>
                      <a:pt x="172" y="156"/>
                    </a:lnTo>
                    <a:lnTo>
                      <a:pt x="170" y="156"/>
                    </a:lnTo>
                    <a:lnTo>
                      <a:pt x="169" y="160"/>
                    </a:lnTo>
                    <a:lnTo>
                      <a:pt x="167" y="160"/>
                    </a:lnTo>
                    <a:lnTo>
                      <a:pt x="163" y="160"/>
                    </a:lnTo>
                    <a:lnTo>
                      <a:pt x="158" y="162"/>
                    </a:lnTo>
                    <a:lnTo>
                      <a:pt x="158" y="163"/>
                    </a:lnTo>
                    <a:lnTo>
                      <a:pt x="156" y="166"/>
                    </a:lnTo>
                    <a:lnTo>
                      <a:pt x="155" y="169"/>
                    </a:lnTo>
                    <a:lnTo>
                      <a:pt x="155" y="169"/>
                    </a:lnTo>
                    <a:lnTo>
                      <a:pt x="152" y="173"/>
                    </a:lnTo>
                    <a:lnTo>
                      <a:pt x="152" y="174"/>
                    </a:lnTo>
                    <a:lnTo>
                      <a:pt x="147" y="180"/>
                    </a:lnTo>
                    <a:lnTo>
                      <a:pt x="147" y="180"/>
                    </a:lnTo>
                    <a:lnTo>
                      <a:pt x="144" y="181"/>
                    </a:lnTo>
                    <a:lnTo>
                      <a:pt x="141" y="182"/>
                    </a:lnTo>
                    <a:lnTo>
                      <a:pt x="140" y="182"/>
                    </a:lnTo>
                    <a:lnTo>
                      <a:pt x="137" y="182"/>
                    </a:lnTo>
                    <a:lnTo>
                      <a:pt x="137" y="184"/>
                    </a:lnTo>
                    <a:lnTo>
                      <a:pt x="135" y="184"/>
                    </a:lnTo>
                    <a:lnTo>
                      <a:pt x="135" y="187"/>
                    </a:lnTo>
                    <a:lnTo>
                      <a:pt x="137" y="188"/>
                    </a:lnTo>
                    <a:lnTo>
                      <a:pt x="138" y="194"/>
                    </a:lnTo>
                    <a:lnTo>
                      <a:pt x="138" y="195"/>
                    </a:lnTo>
                    <a:lnTo>
                      <a:pt x="137" y="194"/>
                    </a:lnTo>
                    <a:lnTo>
                      <a:pt x="135" y="192"/>
                    </a:lnTo>
                    <a:lnTo>
                      <a:pt x="133" y="191"/>
                    </a:lnTo>
                    <a:lnTo>
                      <a:pt x="128" y="191"/>
                    </a:lnTo>
                    <a:lnTo>
                      <a:pt x="126" y="194"/>
                    </a:lnTo>
                    <a:lnTo>
                      <a:pt x="123" y="195"/>
                    </a:lnTo>
                    <a:lnTo>
                      <a:pt x="121" y="194"/>
                    </a:lnTo>
                    <a:lnTo>
                      <a:pt x="121" y="194"/>
                    </a:lnTo>
                    <a:lnTo>
                      <a:pt x="120" y="195"/>
                    </a:lnTo>
                    <a:lnTo>
                      <a:pt x="120" y="195"/>
                    </a:lnTo>
                    <a:lnTo>
                      <a:pt x="121" y="195"/>
                    </a:lnTo>
                    <a:lnTo>
                      <a:pt x="121" y="195"/>
                    </a:lnTo>
                    <a:lnTo>
                      <a:pt x="120" y="196"/>
                    </a:lnTo>
                    <a:lnTo>
                      <a:pt x="115" y="195"/>
                    </a:lnTo>
                    <a:lnTo>
                      <a:pt x="112" y="192"/>
                    </a:lnTo>
                    <a:lnTo>
                      <a:pt x="110" y="191"/>
                    </a:lnTo>
                    <a:lnTo>
                      <a:pt x="112" y="189"/>
                    </a:lnTo>
                    <a:lnTo>
                      <a:pt x="112" y="189"/>
                    </a:lnTo>
                    <a:lnTo>
                      <a:pt x="116" y="189"/>
                    </a:lnTo>
                    <a:lnTo>
                      <a:pt x="116" y="188"/>
                    </a:lnTo>
                    <a:lnTo>
                      <a:pt x="116" y="188"/>
                    </a:lnTo>
                    <a:lnTo>
                      <a:pt x="116" y="187"/>
                    </a:lnTo>
                    <a:lnTo>
                      <a:pt x="116" y="185"/>
                    </a:lnTo>
                    <a:lnTo>
                      <a:pt x="116" y="185"/>
                    </a:lnTo>
                    <a:lnTo>
                      <a:pt x="117" y="182"/>
                    </a:lnTo>
                    <a:lnTo>
                      <a:pt x="119" y="181"/>
                    </a:lnTo>
                    <a:lnTo>
                      <a:pt x="120" y="180"/>
                    </a:lnTo>
                    <a:lnTo>
                      <a:pt x="120" y="178"/>
                    </a:lnTo>
                    <a:lnTo>
                      <a:pt x="121" y="177"/>
                    </a:lnTo>
                    <a:lnTo>
                      <a:pt x="124" y="174"/>
                    </a:lnTo>
                    <a:lnTo>
                      <a:pt x="124" y="173"/>
                    </a:lnTo>
                    <a:lnTo>
                      <a:pt x="124" y="171"/>
                    </a:lnTo>
                    <a:lnTo>
                      <a:pt x="124" y="169"/>
                    </a:lnTo>
                    <a:lnTo>
                      <a:pt x="123" y="167"/>
                    </a:lnTo>
                    <a:lnTo>
                      <a:pt x="123" y="164"/>
                    </a:lnTo>
                    <a:lnTo>
                      <a:pt x="124" y="164"/>
                    </a:lnTo>
                    <a:lnTo>
                      <a:pt x="126" y="163"/>
                    </a:lnTo>
                    <a:lnTo>
                      <a:pt x="127" y="162"/>
                    </a:lnTo>
                    <a:lnTo>
                      <a:pt x="128" y="163"/>
                    </a:lnTo>
                    <a:lnTo>
                      <a:pt x="128" y="163"/>
                    </a:lnTo>
                    <a:lnTo>
                      <a:pt x="128" y="166"/>
                    </a:lnTo>
                    <a:lnTo>
                      <a:pt x="128" y="166"/>
                    </a:lnTo>
                    <a:lnTo>
                      <a:pt x="130" y="166"/>
                    </a:lnTo>
                    <a:lnTo>
                      <a:pt x="130" y="164"/>
                    </a:lnTo>
                    <a:lnTo>
                      <a:pt x="131" y="164"/>
                    </a:lnTo>
                    <a:lnTo>
                      <a:pt x="133" y="164"/>
                    </a:lnTo>
                    <a:lnTo>
                      <a:pt x="133" y="164"/>
                    </a:lnTo>
                    <a:lnTo>
                      <a:pt x="133" y="164"/>
                    </a:lnTo>
                    <a:lnTo>
                      <a:pt x="134" y="164"/>
                    </a:lnTo>
                    <a:lnTo>
                      <a:pt x="135" y="166"/>
                    </a:lnTo>
                    <a:lnTo>
                      <a:pt x="135" y="166"/>
                    </a:lnTo>
                    <a:lnTo>
                      <a:pt x="137" y="166"/>
                    </a:lnTo>
                    <a:lnTo>
                      <a:pt x="138" y="164"/>
                    </a:lnTo>
                    <a:lnTo>
                      <a:pt x="138" y="164"/>
                    </a:lnTo>
                    <a:lnTo>
                      <a:pt x="140" y="167"/>
                    </a:lnTo>
                    <a:lnTo>
                      <a:pt x="141" y="167"/>
                    </a:lnTo>
                    <a:lnTo>
                      <a:pt x="144" y="166"/>
                    </a:lnTo>
                    <a:lnTo>
                      <a:pt x="145" y="166"/>
                    </a:lnTo>
                    <a:lnTo>
                      <a:pt x="145" y="164"/>
                    </a:lnTo>
                    <a:lnTo>
                      <a:pt x="141" y="162"/>
                    </a:lnTo>
                    <a:lnTo>
                      <a:pt x="142" y="160"/>
                    </a:lnTo>
                    <a:lnTo>
                      <a:pt x="142" y="157"/>
                    </a:lnTo>
                    <a:lnTo>
                      <a:pt x="141" y="156"/>
                    </a:lnTo>
                    <a:lnTo>
                      <a:pt x="141" y="155"/>
                    </a:lnTo>
                    <a:lnTo>
                      <a:pt x="138" y="153"/>
                    </a:lnTo>
                    <a:lnTo>
                      <a:pt x="135" y="152"/>
                    </a:lnTo>
                    <a:lnTo>
                      <a:pt x="135" y="150"/>
                    </a:lnTo>
                    <a:lnTo>
                      <a:pt x="135" y="150"/>
                    </a:lnTo>
                    <a:lnTo>
                      <a:pt x="135" y="149"/>
                    </a:lnTo>
                    <a:lnTo>
                      <a:pt x="134" y="148"/>
                    </a:lnTo>
                    <a:lnTo>
                      <a:pt x="134" y="146"/>
                    </a:lnTo>
                    <a:lnTo>
                      <a:pt x="134" y="145"/>
                    </a:lnTo>
                    <a:lnTo>
                      <a:pt x="135" y="143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3" y="142"/>
                    </a:lnTo>
                    <a:lnTo>
                      <a:pt x="131" y="141"/>
                    </a:lnTo>
                    <a:lnTo>
                      <a:pt x="131" y="139"/>
                    </a:lnTo>
                    <a:lnTo>
                      <a:pt x="128" y="138"/>
                    </a:lnTo>
                    <a:lnTo>
                      <a:pt x="127" y="138"/>
                    </a:lnTo>
                    <a:lnTo>
                      <a:pt x="127" y="136"/>
                    </a:lnTo>
                    <a:lnTo>
                      <a:pt x="127" y="135"/>
                    </a:lnTo>
                    <a:lnTo>
                      <a:pt x="127" y="134"/>
                    </a:lnTo>
                    <a:lnTo>
                      <a:pt x="128" y="132"/>
                    </a:lnTo>
                    <a:lnTo>
                      <a:pt x="128" y="130"/>
                    </a:lnTo>
                    <a:lnTo>
                      <a:pt x="128" y="130"/>
                    </a:lnTo>
                    <a:lnTo>
                      <a:pt x="128" y="127"/>
                    </a:lnTo>
                    <a:lnTo>
                      <a:pt x="127" y="124"/>
                    </a:lnTo>
                    <a:lnTo>
                      <a:pt x="127" y="124"/>
                    </a:lnTo>
                    <a:lnTo>
                      <a:pt x="126" y="124"/>
                    </a:lnTo>
                    <a:lnTo>
                      <a:pt x="124" y="125"/>
                    </a:lnTo>
                    <a:lnTo>
                      <a:pt x="123" y="124"/>
                    </a:lnTo>
                    <a:lnTo>
                      <a:pt x="123" y="123"/>
                    </a:lnTo>
                    <a:lnTo>
                      <a:pt x="120" y="120"/>
                    </a:lnTo>
                    <a:lnTo>
                      <a:pt x="117" y="118"/>
                    </a:lnTo>
                    <a:lnTo>
                      <a:pt x="116" y="118"/>
                    </a:lnTo>
                    <a:lnTo>
                      <a:pt x="115" y="120"/>
                    </a:lnTo>
                    <a:lnTo>
                      <a:pt x="115" y="120"/>
                    </a:lnTo>
                    <a:lnTo>
                      <a:pt x="115" y="118"/>
                    </a:lnTo>
                    <a:lnTo>
                      <a:pt x="113" y="118"/>
                    </a:lnTo>
                    <a:lnTo>
                      <a:pt x="113" y="118"/>
                    </a:lnTo>
                    <a:lnTo>
                      <a:pt x="113" y="118"/>
                    </a:lnTo>
                    <a:lnTo>
                      <a:pt x="113" y="117"/>
                    </a:lnTo>
                    <a:lnTo>
                      <a:pt x="112" y="117"/>
                    </a:lnTo>
                    <a:lnTo>
                      <a:pt x="109" y="117"/>
                    </a:lnTo>
                    <a:lnTo>
                      <a:pt x="109" y="116"/>
                    </a:lnTo>
                    <a:lnTo>
                      <a:pt x="108" y="114"/>
                    </a:lnTo>
                    <a:lnTo>
                      <a:pt x="108" y="114"/>
                    </a:lnTo>
                    <a:lnTo>
                      <a:pt x="106" y="114"/>
                    </a:lnTo>
                    <a:lnTo>
                      <a:pt x="105" y="113"/>
                    </a:lnTo>
                    <a:lnTo>
                      <a:pt x="103" y="111"/>
                    </a:lnTo>
                    <a:lnTo>
                      <a:pt x="102" y="110"/>
                    </a:lnTo>
                    <a:lnTo>
                      <a:pt x="99" y="110"/>
                    </a:lnTo>
                    <a:lnTo>
                      <a:pt x="99" y="110"/>
                    </a:lnTo>
                    <a:lnTo>
                      <a:pt x="98" y="110"/>
                    </a:lnTo>
                    <a:lnTo>
                      <a:pt x="96" y="111"/>
                    </a:lnTo>
                    <a:lnTo>
                      <a:pt x="96" y="111"/>
                    </a:lnTo>
                    <a:lnTo>
                      <a:pt x="95" y="111"/>
                    </a:lnTo>
                    <a:lnTo>
                      <a:pt x="92" y="113"/>
                    </a:lnTo>
                    <a:lnTo>
                      <a:pt x="88" y="113"/>
                    </a:lnTo>
                    <a:lnTo>
                      <a:pt x="87" y="113"/>
                    </a:lnTo>
                    <a:lnTo>
                      <a:pt x="85" y="113"/>
                    </a:lnTo>
                    <a:lnTo>
                      <a:pt x="82" y="116"/>
                    </a:lnTo>
                    <a:lnTo>
                      <a:pt x="81" y="116"/>
                    </a:lnTo>
                    <a:lnTo>
                      <a:pt x="81" y="116"/>
                    </a:lnTo>
                    <a:lnTo>
                      <a:pt x="78" y="117"/>
                    </a:lnTo>
                    <a:lnTo>
                      <a:pt x="76" y="117"/>
                    </a:lnTo>
                    <a:lnTo>
                      <a:pt x="76" y="120"/>
                    </a:lnTo>
                    <a:lnTo>
                      <a:pt x="74" y="121"/>
                    </a:lnTo>
                    <a:lnTo>
                      <a:pt x="73" y="123"/>
                    </a:lnTo>
                    <a:lnTo>
                      <a:pt x="69" y="124"/>
                    </a:lnTo>
                    <a:lnTo>
                      <a:pt x="64" y="125"/>
                    </a:lnTo>
                    <a:lnTo>
                      <a:pt x="60" y="125"/>
                    </a:lnTo>
                    <a:lnTo>
                      <a:pt x="55" y="128"/>
                    </a:lnTo>
                    <a:lnTo>
                      <a:pt x="53" y="130"/>
                    </a:lnTo>
                    <a:lnTo>
                      <a:pt x="52" y="131"/>
                    </a:lnTo>
                    <a:lnTo>
                      <a:pt x="50" y="131"/>
                    </a:lnTo>
                    <a:lnTo>
                      <a:pt x="49" y="130"/>
                    </a:lnTo>
                    <a:lnTo>
                      <a:pt x="46" y="127"/>
                    </a:lnTo>
                    <a:lnTo>
                      <a:pt x="45" y="125"/>
                    </a:lnTo>
                    <a:lnTo>
                      <a:pt x="43" y="124"/>
                    </a:lnTo>
                    <a:lnTo>
                      <a:pt x="41" y="124"/>
                    </a:lnTo>
                    <a:lnTo>
                      <a:pt x="39" y="125"/>
                    </a:lnTo>
                    <a:lnTo>
                      <a:pt x="38" y="125"/>
                    </a:lnTo>
                    <a:lnTo>
                      <a:pt x="35" y="124"/>
                    </a:lnTo>
                    <a:lnTo>
                      <a:pt x="35" y="124"/>
                    </a:lnTo>
                    <a:lnTo>
                      <a:pt x="34" y="124"/>
                    </a:lnTo>
                    <a:lnTo>
                      <a:pt x="28" y="124"/>
                    </a:lnTo>
                    <a:lnTo>
                      <a:pt x="28" y="123"/>
                    </a:lnTo>
                    <a:lnTo>
                      <a:pt x="28" y="123"/>
                    </a:lnTo>
                    <a:lnTo>
                      <a:pt x="27" y="123"/>
                    </a:lnTo>
                    <a:lnTo>
                      <a:pt x="23" y="123"/>
                    </a:lnTo>
                    <a:lnTo>
                      <a:pt x="20" y="121"/>
                    </a:lnTo>
                    <a:lnTo>
                      <a:pt x="18" y="121"/>
                    </a:lnTo>
                    <a:lnTo>
                      <a:pt x="17" y="121"/>
                    </a:lnTo>
                    <a:lnTo>
                      <a:pt x="17" y="123"/>
                    </a:lnTo>
                    <a:lnTo>
                      <a:pt x="14" y="124"/>
                    </a:lnTo>
                    <a:lnTo>
                      <a:pt x="14" y="124"/>
                    </a:lnTo>
                    <a:lnTo>
                      <a:pt x="13" y="124"/>
                    </a:lnTo>
                    <a:lnTo>
                      <a:pt x="13" y="123"/>
                    </a:lnTo>
                    <a:lnTo>
                      <a:pt x="13" y="123"/>
                    </a:lnTo>
                    <a:lnTo>
                      <a:pt x="13" y="121"/>
                    </a:lnTo>
                    <a:lnTo>
                      <a:pt x="11" y="120"/>
                    </a:lnTo>
                    <a:lnTo>
                      <a:pt x="11" y="120"/>
                    </a:lnTo>
                    <a:lnTo>
                      <a:pt x="10" y="120"/>
                    </a:lnTo>
                    <a:lnTo>
                      <a:pt x="10" y="120"/>
                    </a:lnTo>
                    <a:lnTo>
                      <a:pt x="10" y="120"/>
                    </a:lnTo>
                    <a:lnTo>
                      <a:pt x="9" y="120"/>
                    </a:lnTo>
                    <a:lnTo>
                      <a:pt x="7" y="117"/>
                    </a:lnTo>
                    <a:lnTo>
                      <a:pt x="6" y="116"/>
                    </a:lnTo>
                    <a:lnTo>
                      <a:pt x="4" y="116"/>
                    </a:lnTo>
                    <a:lnTo>
                      <a:pt x="3" y="116"/>
                    </a:lnTo>
                    <a:lnTo>
                      <a:pt x="3" y="114"/>
                    </a:lnTo>
                    <a:lnTo>
                      <a:pt x="3" y="113"/>
                    </a:lnTo>
                    <a:lnTo>
                      <a:pt x="3" y="113"/>
                    </a:lnTo>
                    <a:lnTo>
                      <a:pt x="2" y="111"/>
                    </a:lnTo>
                    <a:lnTo>
                      <a:pt x="2" y="111"/>
                    </a:lnTo>
                    <a:lnTo>
                      <a:pt x="2" y="111"/>
                    </a:lnTo>
                    <a:lnTo>
                      <a:pt x="0" y="111"/>
                    </a:lnTo>
                    <a:lnTo>
                      <a:pt x="0" y="107"/>
                    </a:lnTo>
                    <a:lnTo>
                      <a:pt x="3" y="104"/>
                    </a:lnTo>
                    <a:lnTo>
                      <a:pt x="3" y="103"/>
                    </a:lnTo>
                    <a:lnTo>
                      <a:pt x="4" y="99"/>
                    </a:lnTo>
                    <a:lnTo>
                      <a:pt x="6" y="97"/>
                    </a:lnTo>
                    <a:lnTo>
                      <a:pt x="6" y="96"/>
                    </a:lnTo>
                    <a:lnTo>
                      <a:pt x="7" y="95"/>
                    </a:lnTo>
                    <a:lnTo>
                      <a:pt x="7" y="93"/>
                    </a:lnTo>
                    <a:lnTo>
                      <a:pt x="9" y="93"/>
                    </a:lnTo>
                    <a:lnTo>
                      <a:pt x="10" y="95"/>
                    </a:lnTo>
                    <a:lnTo>
                      <a:pt x="13" y="95"/>
                    </a:lnTo>
                    <a:lnTo>
                      <a:pt x="13" y="95"/>
                    </a:lnTo>
                    <a:lnTo>
                      <a:pt x="13" y="93"/>
                    </a:lnTo>
                    <a:lnTo>
                      <a:pt x="13" y="93"/>
                    </a:lnTo>
                    <a:lnTo>
                      <a:pt x="11" y="92"/>
                    </a:lnTo>
                    <a:lnTo>
                      <a:pt x="10" y="91"/>
                    </a:lnTo>
                    <a:lnTo>
                      <a:pt x="10" y="91"/>
                    </a:lnTo>
                    <a:lnTo>
                      <a:pt x="11" y="89"/>
                    </a:lnTo>
                    <a:lnTo>
                      <a:pt x="11" y="88"/>
                    </a:lnTo>
                    <a:lnTo>
                      <a:pt x="11" y="86"/>
                    </a:lnTo>
                    <a:lnTo>
                      <a:pt x="10" y="82"/>
                    </a:lnTo>
                    <a:lnTo>
                      <a:pt x="10" y="81"/>
                    </a:lnTo>
                    <a:lnTo>
                      <a:pt x="10" y="79"/>
                    </a:lnTo>
                    <a:lnTo>
                      <a:pt x="14" y="74"/>
                    </a:lnTo>
                    <a:lnTo>
                      <a:pt x="16" y="72"/>
                    </a:lnTo>
                    <a:lnTo>
                      <a:pt x="17" y="71"/>
                    </a:lnTo>
                    <a:lnTo>
                      <a:pt x="21" y="65"/>
                    </a:lnTo>
                    <a:lnTo>
                      <a:pt x="23" y="63"/>
                    </a:lnTo>
                    <a:lnTo>
                      <a:pt x="25" y="61"/>
                    </a:lnTo>
                    <a:lnTo>
                      <a:pt x="28" y="58"/>
                    </a:lnTo>
                    <a:lnTo>
                      <a:pt x="28" y="57"/>
                    </a:lnTo>
                    <a:lnTo>
                      <a:pt x="34" y="56"/>
                    </a:lnTo>
                    <a:lnTo>
                      <a:pt x="34" y="54"/>
                    </a:lnTo>
                    <a:lnTo>
                      <a:pt x="35" y="53"/>
                    </a:lnTo>
                    <a:lnTo>
                      <a:pt x="35" y="53"/>
                    </a:lnTo>
                    <a:lnTo>
                      <a:pt x="35" y="50"/>
                    </a:lnTo>
                    <a:lnTo>
                      <a:pt x="35" y="47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5"/>
                    </a:lnTo>
                    <a:lnTo>
                      <a:pt x="35" y="45"/>
                    </a:lnTo>
                    <a:lnTo>
                      <a:pt x="35" y="45"/>
                    </a:lnTo>
                    <a:lnTo>
                      <a:pt x="37" y="43"/>
                    </a:lnTo>
                    <a:lnTo>
                      <a:pt x="35" y="43"/>
                    </a:lnTo>
                    <a:lnTo>
                      <a:pt x="34" y="40"/>
                    </a:lnTo>
                    <a:lnTo>
                      <a:pt x="32" y="39"/>
                    </a:lnTo>
                    <a:lnTo>
                      <a:pt x="31" y="36"/>
                    </a:lnTo>
                    <a:lnTo>
                      <a:pt x="28" y="32"/>
                    </a:lnTo>
                    <a:lnTo>
                      <a:pt x="28" y="31"/>
                    </a:lnTo>
                    <a:lnTo>
                      <a:pt x="28" y="29"/>
                    </a:lnTo>
                    <a:lnTo>
                      <a:pt x="28" y="28"/>
                    </a:lnTo>
                    <a:lnTo>
                      <a:pt x="28" y="26"/>
                    </a:lnTo>
                    <a:lnTo>
                      <a:pt x="27" y="24"/>
                    </a:lnTo>
                    <a:lnTo>
                      <a:pt x="27" y="24"/>
                    </a:lnTo>
                    <a:lnTo>
                      <a:pt x="27" y="21"/>
                    </a:lnTo>
                    <a:lnTo>
                      <a:pt x="28" y="21"/>
                    </a:lnTo>
                    <a:lnTo>
                      <a:pt x="28" y="21"/>
                    </a:lnTo>
                    <a:lnTo>
                      <a:pt x="31" y="21"/>
                    </a:lnTo>
                    <a:lnTo>
                      <a:pt x="31" y="21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7" y="19"/>
                    </a:lnTo>
                    <a:lnTo>
                      <a:pt x="39" y="17"/>
                    </a:lnTo>
                    <a:lnTo>
                      <a:pt x="39" y="15"/>
                    </a:lnTo>
                    <a:lnTo>
                      <a:pt x="41" y="14"/>
                    </a:lnTo>
                    <a:lnTo>
                      <a:pt x="43" y="14"/>
                    </a:lnTo>
                    <a:lnTo>
                      <a:pt x="45" y="14"/>
                    </a:lnTo>
                    <a:lnTo>
                      <a:pt x="46" y="14"/>
                    </a:lnTo>
                    <a:lnTo>
                      <a:pt x="50" y="12"/>
                    </a:lnTo>
                    <a:lnTo>
                      <a:pt x="52" y="12"/>
                    </a:lnTo>
                    <a:lnTo>
                      <a:pt x="53" y="12"/>
                    </a:lnTo>
                    <a:lnTo>
                      <a:pt x="57" y="12"/>
                    </a:lnTo>
                    <a:lnTo>
                      <a:pt x="63" y="12"/>
                    </a:lnTo>
                    <a:lnTo>
                      <a:pt x="67" y="12"/>
                    </a:lnTo>
                    <a:lnTo>
                      <a:pt x="69" y="12"/>
                    </a:lnTo>
                    <a:lnTo>
                      <a:pt x="76" y="14"/>
                    </a:lnTo>
                    <a:lnTo>
                      <a:pt x="77" y="15"/>
                    </a:lnTo>
                    <a:lnTo>
                      <a:pt x="78" y="15"/>
                    </a:lnTo>
                    <a:lnTo>
                      <a:pt x="81" y="15"/>
                    </a:lnTo>
                    <a:lnTo>
                      <a:pt x="84" y="17"/>
                    </a:lnTo>
                    <a:lnTo>
                      <a:pt x="88" y="17"/>
                    </a:lnTo>
                    <a:lnTo>
                      <a:pt x="89" y="17"/>
                    </a:lnTo>
                    <a:lnTo>
                      <a:pt x="91" y="17"/>
                    </a:lnTo>
                    <a:lnTo>
                      <a:pt x="94" y="21"/>
                    </a:lnTo>
                    <a:lnTo>
                      <a:pt x="94" y="22"/>
                    </a:lnTo>
                    <a:lnTo>
                      <a:pt x="95" y="22"/>
                    </a:lnTo>
                    <a:lnTo>
                      <a:pt x="96" y="22"/>
                    </a:lnTo>
                    <a:lnTo>
                      <a:pt x="99" y="22"/>
                    </a:lnTo>
                    <a:lnTo>
                      <a:pt x="101" y="22"/>
                    </a:lnTo>
                    <a:lnTo>
                      <a:pt x="101" y="25"/>
                    </a:lnTo>
                    <a:lnTo>
                      <a:pt x="101" y="25"/>
                    </a:lnTo>
                    <a:lnTo>
                      <a:pt x="102" y="25"/>
                    </a:lnTo>
                    <a:lnTo>
                      <a:pt x="103" y="24"/>
                    </a:lnTo>
                    <a:lnTo>
                      <a:pt x="103" y="22"/>
                    </a:lnTo>
                    <a:lnTo>
                      <a:pt x="105" y="22"/>
                    </a:lnTo>
                    <a:lnTo>
                      <a:pt x="108" y="24"/>
                    </a:lnTo>
                    <a:lnTo>
                      <a:pt x="108" y="22"/>
                    </a:lnTo>
                    <a:lnTo>
                      <a:pt x="109" y="22"/>
                    </a:lnTo>
                    <a:lnTo>
                      <a:pt x="110" y="22"/>
                    </a:lnTo>
                    <a:lnTo>
                      <a:pt x="112" y="22"/>
                    </a:lnTo>
                    <a:lnTo>
                      <a:pt x="115" y="22"/>
                    </a:lnTo>
                    <a:lnTo>
                      <a:pt x="116" y="22"/>
                    </a:lnTo>
                    <a:lnTo>
                      <a:pt x="117" y="24"/>
                    </a:lnTo>
                    <a:lnTo>
                      <a:pt x="119" y="26"/>
                    </a:lnTo>
                    <a:lnTo>
                      <a:pt x="119" y="26"/>
                    </a:lnTo>
                    <a:lnTo>
                      <a:pt x="120" y="26"/>
                    </a:lnTo>
                    <a:lnTo>
                      <a:pt x="121" y="25"/>
                    </a:lnTo>
                    <a:lnTo>
                      <a:pt x="121" y="24"/>
                    </a:lnTo>
                    <a:lnTo>
                      <a:pt x="123" y="22"/>
                    </a:lnTo>
                    <a:lnTo>
                      <a:pt x="124" y="22"/>
                    </a:lnTo>
                    <a:lnTo>
                      <a:pt x="126" y="22"/>
                    </a:lnTo>
                    <a:lnTo>
                      <a:pt x="126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8" y="22"/>
                    </a:lnTo>
                    <a:lnTo>
                      <a:pt x="128" y="25"/>
                    </a:lnTo>
                    <a:lnTo>
                      <a:pt x="130" y="28"/>
                    </a:lnTo>
                    <a:lnTo>
                      <a:pt x="131" y="28"/>
                    </a:lnTo>
                    <a:lnTo>
                      <a:pt x="134" y="28"/>
                    </a:lnTo>
                    <a:lnTo>
                      <a:pt x="135" y="26"/>
                    </a:lnTo>
                    <a:lnTo>
                      <a:pt x="138" y="26"/>
                    </a:lnTo>
                    <a:lnTo>
                      <a:pt x="141" y="26"/>
                    </a:lnTo>
                    <a:lnTo>
                      <a:pt x="144" y="25"/>
                    </a:lnTo>
                    <a:lnTo>
                      <a:pt x="147" y="25"/>
                    </a:lnTo>
                    <a:lnTo>
                      <a:pt x="147" y="26"/>
                    </a:lnTo>
                    <a:lnTo>
                      <a:pt x="148" y="28"/>
                    </a:lnTo>
                    <a:lnTo>
                      <a:pt x="149" y="29"/>
                    </a:lnTo>
                    <a:lnTo>
                      <a:pt x="151" y="31"/>
                    </a:lnTo>
                    <a:lnTo>
                      <a:pt x="154" y="32"/>
                    </a:lnTo>
                    <a:lnTo>
                      <a:pt x="154" y="31"/>
                    </a:lnTo>
                    <a:lnTo>
                      <a:pt x="155" y="29"/>
                    </a:lnTo>
                    <a:lnTo>
                      <a:pt x="154" y="28"/>
                    </a:lnTo>
                    <a:lnTo>
                      <a:pt x="154" y="25"/>
                    </a:lnTo>
                    <a:lnTo>
                      <a:pt x="154" y="24"/>
                    </a:lnTo>
                    <a:lnTo>
                      <a:pt x="152" y="22"/>
                    </a:lnTo>
                    <a:lnTo>
                      <a:pt x="154" y="19"/>
                    </a:lnTo>
                    <a:lnTo>
                      <a:pt x="155" y="17"/>
                    </a:lnTo>
                    <a:lnTo>
                      <a:pt x="155" y="15"/>
                    </a:lnTo>
                    <a:lnTo>
                      <a:pt x="156" y="12"/>
                    </a:lnTo>
                    <a:lnTo>
                      <a:pt x="158" y="11"/>
                    </a:lnTo>
                    <a:lnTo>
                      <a:pt x="161" y="8"/>
                    </a:lnTo>
                    <a:lnTo>
                      <a:pt x="163" y="8"/>
                    </a:lnTo>
                    <a:lnTo>
                      <a:pt x="165" y="8"/>
                    </a:lnTo>
                    <a:lnTo>
                      <a:pt x="165" y="8"/>
                    </a:lnTo>
                    <a:lnTo>
                      <a:pt x="167" y="7"/>
                    </a:lnTo>
                    <a:lnTo>
                      <a:pt x="172" y="7"/>
                    </a:lnTo>
                    <a:lnTo>
                      <a:pt x="174" y="7"/>
                    </a:lnTo>
                    <a:lnTo>
                      <a:pt x="176" y="7"/>
                    </a:lnTo>
                    <a:lnTo>
                      <a:pt x="177" y="8"/>
                    </a:lnTo>
                    <a:lnTo>
                      <a:pt x="179" y="8"/>
                    </a:lnTo>
                    <a:lnTo>
                      <a:pt x="180" y="8"/>
                    </a:lnTo>
                    <a:lnTo>
                      <a:pt x="181" y="8"/>
                    </a:lnTo>
                    <a:lnTo>
                      <a:pt x="183" y="7"/>
                    </a:lnTo>
                    <a:lnTo>
                      <a:pt x="184" y="7"/>
                    </a:lnTo>
                    <a:lnTo>
                      <a:pt x="186" y="1"/>
                    </a:lnTo>
                    <a:lnTo>
                      <a:pt x="187" y="1"/>
                    </a:lnTo>
                    <a:lnTo>
                      <a:pt x="187" y="1"/>
                    </a:lnTo>
                    <a:lnTo>
                      <a:pt x="188" y="1"/>
                    </a:lnTo>
                    <a:lnTo>
                      <a:pt x="191" y="1"/>
                    </a:lnTo>
                    <a:lnTo>
                      <a:pt x="194" y="3"/>
                    </a:lnTo>
                    <a:lnTo>
                      <a:pt x="195" y="3"/>
                    </a:lnTo>
                    <a:lnTo>
                      <a:pt x="200" y="0"/>
                    </a:lnTo>
                    <a:lnTo>
                      <a:pt x="202" y="0"/>
                    </a:lnTo>
                    <a:lnTo>
                      <a:pt x="205" y="0"/>
                    </a:lnTo>
                    <a:lnTo>
                      <a:pt x="209" y="0"/>
                    </a:lnTo>
                    <a:lnTo>
                      <a:pt x="211" y="0"/>
                    </a:lnTo>
                    <a:lnTo>
                      <a:pt x="212" y="1"/>
                    </a:lnTo>
                    <a:lnTo>
                      <a:pt x="215" y="3"/>
                    </a:lnTo>
                    <a:lnTo>
                      <a:pt x="216" y="6"/>
                    </a:lnTo>
                    <a:lnTo>
                      <a:pt x="218" y="11"/>
                    </a:lnTo>
                    <a:lnTo>
                      <a:pt x="223" y="17"/>
                    </a:lnTo>
                    <a:lnTo>
                      <a:pt x="223" y="18"/>
                    </a:lnTo>
                    <a:lnTo>
                      <a:pt x="223" y="18"/>
                    </a:lnTo>
                    <a:lnTo>
                      <a:pt x="220" y="19"/>
                    </a:lnTo>
                    <a:lnTo>
                      <a:pt x="218" y="19"/>
                    </a:lnTo>
                    <a:lnTo>
                      <a:pt x="218" y="21"/>
                    </a:lnTo>
                    <a:lnTo>
                      <a:pt x="218" y="21"/>
                    </a:lnTo>
                    <a:lnTo>
                      <a:pt x="219" y="24"/>
                    </a:lnTo>
                    <a:lnTo>
                      <a:pt x="219" y="25"/>
                    </a:lnTo>
                    <a:lnTo>
                      <a:pt x="219" y="26"/>
                    </a:lnTo>
                    <a:lnTo>
                      <a:pt x="220" y="29"/>
                    </a:lnTo>
                    <a:lnTo>
                      <a:pt x="220" y="29"/>
                    </a:lnTo>
                    <a:lnTo>
                      <a:pt x="220" y="31"/>
                    </a:lnTo>
                    <a:lnTo>
                      <a:pt x="220" y="31"/>
                    </a:lnTo>
                    <a:lnTo>
                      <a:pt x="219" y="32"/>
                    </a:lnTo>
                    <a:lnTo>
                      <a:pt x="220" y="32"/>
                    </a:lnTo>
                    <a:lnTo>
                      <a:pt x="225" y="32"/>
                    </a:lnTo>
                    <a:lnTo>
                      <a:pt x="227" y="33"/>
                    </a:lnTo>
                    <a:lnTo>
                      <a:pt x="229" y="35"/>
                    </a:lnTo>
                    <a:lnTo>
                      <a:pt x="229" y="35"/>
                    </a:lnTo>
                    <a:lnTo>
                      <a:pt x="232" y="33"/>
                    </a:lnTo>
                    <a:lnTo>
                      <a:pt x="233" y="33"/>
                    </a:lnTo>
                    <a:lnTo>
                      <a:pt x="234" y="33"/>
                    </a:lnTo>
                    <a:lnTo>
                      <a:pt x="236" y="33"/>
                    </a:lnTo>
                    <a:lnTo>
                      <a:pt x="236" y="36"/>
                    </a:lnTo>
                    <a:lnTo>
                      <a:pt x="237" y="38"/>
                    </a:lnTo>
                    <a:lnTo>
                      <a:pt x="237" y="38"/>
                    </a:lnTo>
                    <a:lnTo>
                      <a:pt x="239" y="38"/>
                    </a:lnTo>
                    <a:lnTo>
                      <a:pt x="240" y="38"/>
                    </a:lnTo>
                    <a:lnTo>
                      <a:pt x="240" y="39"/>
                    </a:lnTo>
                    <a:lnTo>
                      <a:pt x="240" y="39"/>
                    </a:lnTo>
                    <a:lnTo>
                      <a:pt x="240" y="40"/>
                    </a:lnTo>
                    <a:lnTo>
                      <a:pt x="240" y="42"/>
                    </a:lnTo>
                    <a:lnTo>
                      <a:pt x="241" y="45"/>
                    </a:lnTo>
                    <a:lnTo>
                      <a:pt x="241" y="46"/>
                    </a:lnTo>
                    <a:lnTo>
                      <a:pt x="241" y="47"/>
                    </a:lnTo>
                    <a:lnTo>
                      <a:pt x="241" y="49"/>
                    </a:lnTo>
                    <a:lnTo>
                      <a:pt x="241" y="49"/>
                    </a:lnTo>
                    <a:lnTo>
                      <a:pt x="241" y="50"/>
                    </a:lnTo>
                    <a:lnTo>
                      <a:pt x="241" y="53"/>
                    </a:lnTo>
                    <a:lnTo>
                      <a:pt x="243" y="54"/>
                    </a:lnTo>
                    <a:lnTo>
                      <a:pt x="244" y="56"/>
                    </a:lnTo>
                    <a:lnTo>
                      <a:pt x="244" y="57"/>
                    </a:lnTo>
                    <a:lnTo>
                      <a:pt x="245" y="58"/>
                    </a:lnTo>
                    <a:lnTo>
                      <a:pt x="248" y="56"/>
                    </a:lnTo>
                    <a:lnTo>
                      <a:pt x="250" y="56"/>
                    </a:lnTo>
                    <a:lnTo>
                      <a:pt x="252" y="56"/>
                    </a:lnTo>
                    <a:lnTo>
                      <a:pt x="254" y="56"/>
                    </a:lnTo>
                    <a:lnTo>
                      <a:pt x="255" y="57"/>
                    </a:lnTo>
                    <a:lnTo>
                      <a:pt x="257" y="58"/>
                    </a:lnTo>
                    <a:lnTo>
                      <a:pt x="258" y="60"/>
                    </a:lnTo>
                    <a:lnTo>
                      <a:pt x="258" y="60"/>
                    </a:lnTo>
                    <a:lnTo>
                      <a:pt x="261" y="60"/>
                    </a:lnTo>
                    <a:lnTo>
                      <a:pt x="262" y="61"/>
                    </a:lnTo>
                    <a:lnTo>
                      <a:pt x="264" y="61"/>
                    </a:lnTo>
                    <a:lnTo>
                      <a:pt x="265" y="61"/>
                    </a:lnTo>
                    <a:lnTo>
                      <a:pt x="266" y="60"/>
                    </a:lnTo>
                    <a:lnTo>
                      <a:pt x="271" y="58"/>
                    </a:lnTo>
                    <a:lnTo>
                      <a:pt x="272" y="57"/>
                    </a:lnTo>
                    <a:lnTo>
                      <a:pt x="273" y="57"/>
                    </a:lnTo>
                    <a:lnTo>
                      <a:pt x="275" y="57"/>
                    </a:lnTo>
                    <a:lnTo>
                      <a:pt x="276" y="56"/>
                    </a:lnTo>
                    <a:lnTo>
                      <a:pt x="278" y="56"/>
                    </a:lnTo>
                    <a:lnTo>
                      <a:pt x="279" y="58"/>
                    </a:lnTo>
                    <a:lnTo>
                      <a:pt x="280" y="60"/>
                    </a:lnTo>
                    <a:lnTo>
                      <a:pt x="282" y="61"/>
                    </a:lnTo>
                    <a:lnTo>
                      <a:pt x="283" y="64"/>
                    </a:lnTo>
                    <a:lnTo>
                      <a:pt x="287" y="68"/>
                    </a:lnTo>
                    <a:lnTo>
                      <a:pt x="289" y="70"/>
                    </a:lnTo>
                    <a:lnTo>
                      <a:pt x="290" y="70"/>
                    </a:lnTo>
                    <a:lnTo>
                      <a:pt x="291" y="70"/>
                    </a:lnTo>
                    <a:lnTo>
                      <a:pt x="291" y="68"/>
                    </a:lnTo>
                    <a:lnTo>
                      <a:pt x="291" y="67"/>
                    </a:lnTo>
                    <a:lnTo>
                      <a:pt x="291" y="67"/>
                    </a:lnTo>
                    <a:lnTo>
                      <a:pt x="293" y="65"/>
                    </a:lnTo>
                    <a:lnTo>
                      <a:pt x="297" y="68"/>
                    </a:lnTo>
                    <a:lnTo>
                      <a:pt x="298" y="68"/>
                    </a:lnTo>
                    <a:lnTo>
                      <a:pt x="300" y="68"/>
                    </a:lnTo>
                    <a:lnTo>
                      <a:pt x="303" y="71"/>
                    </a:lnTo>
                    <a:lnTo>
                      <a:pt x="305" y="72"/>
                    </a:lnTo>
                    <a:lnTo>
                      <a:pt x="307" y="72"/>
                    </a:lnTo>
                    <a:lnTo>
                      <a:pt x="308" y="72"/>
                    </a:lnTo>
                    <a:lnTo>
                      <a:pt x="310" y="71"/>
                    </a:lnTo>
                    <a:lnTo>
                      <a:pt x="311" y="72"/>
                    </a:lnTo>
                    <a:lnTo>
                      <a:pt x="311" y="74"/>
                    </a:lnTo>
                    <a:lnTo>
                      <a:pt x="312" y="75"/>
                    </a:lnTo>
                    <a:lnTo>
                      <a:pt x="314" y="75"/>
                    </a:lnTo>
                    <a:lnTo>
                      <a:pt x="315" y="75"/>
                    </a:lnTo>
                    <a:lnTo>
                      <a:pt x="318" y="78"/>
                    </a:lnTo>
                    <a:lnTo>
                      <a:pt x="321" y="79"/>
                    </a:lnTo>
                    <a:lnTo>
                      <a:pt x="322" y="79"/>
                    </a:lnTo>
                    <a:lnTo>
                      <a:pt x="323" y="79"/>
                    </a:lnTo>
                    <a:lnTo>
                      <a:pt x="325" y="79"/>
                    </a:lnTo>
                    <a:lnTo>
                      <a:pt x="326" y="79"/>
                    </a:lnTo>
                    <a:lnTo>
                      <a:pt x="326" y="81"/>
                    </a:lnTo>
                    <a:lnTo>
                      <a:pt x="326" y="82"/>
                    </a:lnTo>
                    <a:lnTo>
                      <a:pt x="326" y="84"/>
                    </a:lnTo>
                    <a:lnTo>
                      <a:pt x="326" y="85"/>
                    </a:lnTo>
                    <a:lnTo>
                      <a:pt x="326" y="86"/>
                    </a:lnTo>
                    <a:lnTo>
                      <a:pt x="326" y="89"/>
                    </a:lnTo>
                    <a:lnTo>
                      <a:pt x="326" y="91"/>
                    </a:lnTo>
                    <a:lnTo>
                      <a:pt x="323" y="92"/>
                    </a:lnTo>
                    <a:lnTo>
                      <a:pt x="322" y="93"/>
                    </a:lnTo>
                    <a:lnTo>
                      <a:pt x="321" y="95"/>
                    </a:lnTo>
                    <a:lnTo>
                      <a:pt x="319" y="95"/>
                    </a:lnTo>
                    <a:lnTo>
                      <a:pt x="319" y="96"/>
                    </a:lnTo>
                    <a:lnTo>
                      <a:pt x="321" y="97"/>
                    </a:lnTo>
                    <a:lnTo>
                      <a:pt x="322" y="99"/>
                    </a:lnTo>
                    <a:lnTo>
                      <a:pt x="325" y="100"/>
                    </a:lnTo>
                    <a:lnTo>
                      <a:pt x="325" y="100"/>
                    </a:lnTo>
                    <a:lnTo>
                      <a:pt x="325" y="100"/>
                    </a:lnTo>
                    <a:lnTo>
                      <a:pt x="323" y="102"/>
                    </a:lnTo>
                    <a:lnTo>
                      <a:pt x="321" y="100"/>
                    </a:lnTo>
                    <a:lnTo>
                      <a:pt x="321" y="102"/>
                    </a:lnTo>
                    <a:lnTo>
                      <a:pt x="319" y="103"/>
                    </a:lnTo>
                    <a:lnTo>
                      <a:pt x="319" y="104"/>
                    </a:lnTo>
                    <a:lnTo>
                      <a:pt x="318" y="107"/>
                    </a:lnTo>
                    <a:lnTo>
                      <a:pt x="321" y="107"/>
                    </a:lnTo>
                    <a:lnTo>
                      <a:pt x="322" y="109"/>
                    </a:lnTo>
                    <a:lnTo>
                      <a:pt x="322" y="110"/>
                    </a:lnTo>
                    <a:lnTo>
                      <a:pt x="322" y="111"/>
                    </a:lnTo>
                    <a:lnTo>
                      <a:pt x="322" y="113"/>
                    </a:lnTo>
                    <a:lnTo>
                      <a:pt x="322" y="114"/>
                    </a:lnTo>
                    <a:lnTo>
                      <a:pt x="322" y="114"/>
                    </a:lnTo>
                    <a:lnTo>
                      <a:pt x="322" y="116"/>
                    </a:lnTo>
                    <a:lnTo>
                      <a:pt x="323" y="116"/>
                    </a:lnTo>
                    <a:lnTo>
                      <a:pt x="323" y="116"/>
                    </a:lnTo>
                    <a:lnTo>
                      <a:pt x="323" y="117"/>
                    </a:lnTo>
                    <a:lnTo>
                      <a:pt x="322" y="118"/>
                    </a:lnTo>
                    <a:lnTo>
                      <a:pt x="321" y="123"/>
                    </a:lnTo>
                    <a:lnTo>
                      <a:pt x="321" y="124"/>
                    </a:lnTo>
                    <a:lnTo>
                      <a:pt x="321" y="125"/>
                    </a:lnTo>
                    <a:lnTo>
                      <a:pt x="319" y="127"/>
                    </a:lnTo>
                    <a:lnTo>
                      <a:pt x="318" y="127"/>
                    </a:lnTo>
                    <a:lnTo>
                      <a:pt x="314" y="127"/>
                    </a:lnTo>
                    <a:lnTo>
                      <a:pt x="310" y="127"/>
                    </a:lnTo>
                    <a:lnTo>
                      <a:pt x="308" y="127"/>
                    </a:lnTo>
                    <a:lnTo>
                      <a:pt x="304" y="127"/>
                    </a:lnTo>
                    <a:lnTo>
                      <a:pt x="303" y="127"/>
                    </a:lnTo>
                    <a:lnTo>
                      <a:pt x="301" y="131"/>
                    </a:lnTo>
                    <a:lnTo>
                      <a:pt x="300" y="132"/>
                    </a:lnTo>
                    <a:lnTo>
                      <a:pt x="297" y="134"/>
                    </a:lnTo>
                    <a:lnTo>
                      <a:pt x="296" y="134"/>
                    </a:lnTo>
                    <a:lnTo>
                      <a:pt x="293" y="135"/>
                    </a:lnTo>
                    <a:lnTo>
                      <a:pt x="293" y="136"/>
                    </a:lnTo>
                    <a:lnTo>
                      <a:pt x="293" y="139"/>
                    </a:lnTo>
                    <a:lnTo>
                      <a:pt x="293" y="139"/>
                    </a:lnTo>
                    <a:lnTo>
                      <a:pt x="293" y="141"/>
                    </a:lnTo>
                    <a:lnTo>
                      <a:pt x="291" y="141"/>
                    </a:lnTo>
                    <a:lnTo>
                      <a:pt x="291" y="142"/>
                    </a:lnTo>
                    <a:lnTo>
                      <a:pt x="293" y="142"/>
                    </a:lnTo>
                    <a:lnTo>
                      <a:pt x="293" y="142"/>
                    </a:lnTo>
                    <a:lnTo>
                      <a:pt x="293" y="143"/>
                    </a:lnTo>
                    <a:lnTo>
                      <a:pt x="293" y="143"/>
                    </a:lnTo>
                    <a:lnTo>
                      <a:pt x="293" y="143"/>
                    </a:lnTo>
                    <a:lnTo>
                      <a:pt x="291" y="145"/>
                    </a:lnTo>
                    <a:lnTo>
                      <a:pt x="291" y="146"/>
                    </a:lnTo>
                    <a:lnTo>
                      <a:pt x="293" y="148"/>
                    </a:lnTo>
                    <a:close/>
                    <a:moveTo>
                      <a:pt x="180" y="171"/>
                    </a:moveTo>
                    <a:lnTo>
                      <a:pt x="181" y="171"/>
                    </a:lnTo>
                    <a:lnTo>
                      <a:pt x="180" y="171"/>
                    </a:lnTo>
                    <a:lnTo>
                      <a:pt x="174" y="170"/>
                    </a:lnTo>
                    <a:lnTo>
                      <a:pt x="172" y="170"/>
                    </a:lnTo>
                    <a:lnTo>
                      <a:pt x="170" y="169"/>
                    </a:lnTo>
                    <a:lnTo>
                      <a:pt x="170" y="166"/>
                    </a:lnTo>
                    <a:lnTo>
                      <a:pt x="172" y="169"/>
                    </a:lnTo>
                    <a:lnTo>
                      <a:pt x="173" y="169"/>
                    </a:lnTo>
                    <a:lnTo>
                      <a:pt x="180" y="171"/>
                    </a:lnTo>
                    <a:close/>
                  </a:path>
                </a:pathLst>
              </a:custGeom>
              <a:solidFill>
                <a:schemeClr val="tx1">
                  <a:lumMod val="75000"/>
                </a:schemeClr>
              </a:solidFill>
              <a:ln w="317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</p:grpSp>
        <p:cxnSp>
          <p:nvCxnSpPr>
            <p:cNvPr id="559" name="Straight Connector 558">
              <a:extLst>
                <a:ext uri="{FF2B5EF4-FFF2-40B4-BE49-F238E27FC236}">
                  <a16:creationId xmlns:a16="http://schemas.microsoft.com/office/drawing/2014/main" id="{C9E46396-5B32-9613-A6A5-D554812B5C79}"/>
                </a:ext>
              </a:extLst>
            </p:cNvPr>
            <p:cNvCxnSpPr>
              <a:cxnSpLocks/>
              <a:stCxn id="11" idx="1"/>
              <a:endCxn id="26" idx="5"/>
            </p:cNvCxnSpPr>
            <p:nvPr/>
          </p:nvCxnSpPr>
          <p:spPr>
            <a:xfrm flipH="1" flipV="1">
              <a:off x="4311589" y="3092882"/>
              <a:ext cx="167682" cy="152078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8" name="Oval 567">
              <a:extLst>
                <a:ext uri="{FF2B5EF4-FFF2-40B4-BE49-F238E27FC236}">
                  <a16:creationId xmlns:a16="http://schemas.microsoft.com/office/drawing/2014/main" id="{362AAADA-0E70-7766-DB1A-ECF5ED51FD3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65365" y="3167189"/>
              <a:ext cx="72000" cy="72000"/>
            </a:xfrm>
            <a:prstGeom prst="ellipse">
              <a:avLst/>
            </a:prstGeom>
            <a:solidFill>
              <a:srgbClr val="006DF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EEFC0456-2888-188D-B2A0-109EC87D0D3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68727" y="3234416"/>
              <a:ext cx="72000" cy="72000"/>
            </a:xfrm>
            <a:prstGeom prst="ellipse">
              <a:avLst/>
            </a:prstGeom>
            <a:solidFill>
              <a:srgbClr val="006DF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FA2672E8-01B4-6C01-DD23-63261215A30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69184" y="3367340"/>
              <a:ext cx="72000" cy="72000"/>
            </a:xfrm>
            <a:prstGeom prst="ellipse">
              <a:avLst/>
            </a:prstGeom>
            <a:solidFill>
              <a:srgbClr val="006DF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A6F5B03-2F4C-C405-6378-BEB0771170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15950" y="2376784"/>
              <a:ext cx="72000" cy="72000"/>
            </a:xfrm>
            <a:prstGeom prst="ellipse">
              <a:avLst/>
            </a:prstGeom>
            <a:solidFill>
              <a:srgbClr val="006DF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E34189D-8585-F73B-C048-3AEF6B87BF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92929" y="4067631"/>
              <a:ext cx="72000" cy="72000"/>
            </a:xfrm>
            <a:prstGeom prst="ellipse">
              <a:avLst/>
            </a:prstGeom>
            <a:solidFill>
              <a:srgbClr val="006DF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D281B044-75A1-7CA0-3EDA-073767315C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76613" y="2399368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9BFC4FD1-D8AE-A8F3-A177-BAE147BDA31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82888" y="2408893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FAE95C62-0055-9CFC-7A70-8195F52C7D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35288" y="2504143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CC82AADD-D06F-0EF5-E7F8-370319987A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41613" y="2627968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818239A8-2290-4B57-2EC8-87CB4778A0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70238" y="2231093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B792DB6-414E-95DB-5DDB-DDC63A2E41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35288" y="3050243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BE6717E-B55B-139F-F5AC-5E6E6F4238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508253" y="3329211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AF024199-F39A-4CCD-6805-7F51E5B9B45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68311" y="3295834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6E3AA29-502A-FF15-24CB-248A23DE1C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79532" y="3326411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9F1882E-DA3F-4FA2-0478-97867AB7ABC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78328" y="3203423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ABAE005-99C2-9FEA-4013-F7B537995F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80861" y="3062154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87048817-2739-70FF-DF13-A6B4F27449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81037" y="3404318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7FDB1816-9F64-6819-17E8-BF2B7B5D1F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73294" y="3015557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12A5AE1-3FD0-6973-BA0E-7AC7E31DE1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18867" y="3038963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00E7D699-B95C-096A-662F-52CB9568A9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06316" y="2438547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A79B76D0-0421-463C-AE89-9899A09A390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57216" y="3197656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9EED44F4-D9AD-3832-752D-6FAC48DAB9D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80212" y="2901675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57F2292-177B-68DE-E8DC-4F817D317B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12591" y="3211396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02E444F9-9FDF-F764-F158-B7707D2F86C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62915" y="3217799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B62EE3B8-92DA-FBCC-40B9-00911C395A9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20728" y="3186679"/>
              <a:ext cx="72000" cy="72000"/>
            </a:xfrm>
            <a:prstGeom prst="ellipse">
              <a:avLst/>
            </a:prstGeom>
            <a:solidFill>
              <a:schemeClr val="accent2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53D2CF26-7463-16C7-5FE3-8AE81F0D4B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80817" y="2232600"/>
              <a:ext cx="72000" cy="72000"/>
            </a:xfrm>
            <a:prstGeom prst="ellipse">
              <a:avLst/>
            </a:prstGeom>
            <a:solidFill>
              <a:schemeClr val="accent2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E7C854AC-11C2-EA2F-4935-406E35BC7C3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63037" y="2707588"/>
              <a:ext cx="72000" cy="72000"/>
            </a:xfrm>
            <a:prstGeom prst="ellipse">
              <a:avLst/>
            </a:prstGeom>
            <a:solidFill>
              <a:schemeClr val="accent2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428EC93A-1F48-39CD-5CD8-3E2E779123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02163" y="3330595"/>
              <a:ext cx="72000" cy="72000"/>
            </a:xfrm>
            <a:prstGeom prst="ellipse">
              <a:avLst/>
            </a:prstGeom>
            <a:solidFill>
              <a:schemeClr val="accent2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A3E8CAC-D5B8-9264-0E13-201269848D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47120" y="2978319"/>
              <a:ext cx="72000" cy="72000"/>
            </a:xfrm>
            <a:prstGeom prst="ellipse">
              <a:avLst/>
            </a:prstGeom>
            <a:solidFill>
              <a:schemeClr val="accent2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FE94254-80B5-18AD-602C-662752D89E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94725" y="2524280"/>
              <a:ext cx="72000" cy="72000"/>
            </a:xfrm>
            <a:prstGeom prst="ellipse">
              <a:avLst/>
            </a:prstGeom>
            <a:solidFill>
              <a:srgbClr val="006DF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257EB1DB-3B92-7AB4-4182-655162C363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61880" y="3387656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6539F576-BA35-65B8-E0D1-023CB46D8A3B}"/>
                </a:ext>
              </a:extLst>
            </p:cNvPr>
            <p:cNvCxnSpPr>
              <a:cxnSpLocks/>
              <a:stCxn id="11" idx="2"/>
              <a:endCxn id="25" idx="6"/>
            </p:cNvCxnSpPr>
            <p:nvPr/>
          </p:nvCxnSpPr>
          <p:spPr>
            <a:xfrm flipH="1" flipV="1">
              <a:off x="4314328" y="3221423"/>
              <a:ext cx="154399" cy="48993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B544DA46-851E-3D58-2359-44251ECF6864}"/>
                </a:ext>
              </a:extLst>
            </p:cNvPr>
            <p:cNvCxnSpPr>
              <a:cxnSpLocks/>
              <a:stCxn id="21" idx="2"/>
              <a:endCxn id="12" idx="7"/>
            </p:cNvCxnSpPr>
            <p:nvPr/>
          </p:nvCxnSpPr>
          <p:spPr>
            <a:xfrm flipH="1">
              <a:off x="4430640" y="3347211"/>
              <a:ext cx="77613" cy="30673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3FBDF74-77C3-1EC2-6FEF-A66CAFFAD621}"/>
                </a:ext>
              </a:extLst>
            </p:cNvPr>
            <p:cNvCxnSpPr>
              <a:cxnSpLocks/>
              <a:stCxn id="11" idx="4"/>
              <a:endCxn id="21" idx="1"/>
            </p:cNvCxnSpPr>
            <p:nvPr/>
          </p:nvCxnSpPr>
          <p:spPr>
            <a:xfrm>
              <a:off x="4504727" y="3306416"/>
              <a:ext cx="8798" cy="28067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B5FD55F3-07CE-5C7F-1B32-30FFF55E82F2}"/>
                </a:ext>
              </a:extLst>
            </p:cNvPr>
            <p:cNvCxnSpPr>
              <a:cxnSpLocks/>
              <a:stCxn id="25" idx="4"/>
              <a:endCxn id="12" idx="1"/>
            </p:cNvCxnSpPr>
            <p:nvPr/>
          </p:nvCxnSpPr>
          <p:spPr>
            <a:xfrm>
              <a:off x="4296328" y="3239423"/>
              <a:ext cx="83400" cy="138461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ED684870-9FE4-2671-0417-0459B2A26062}"/>
                </a:ext>
              </a:extLst>
            </p:cNvPr>
            <p:cNvCxnSpPr>
              <a:cxnSpLocks/>
              <a:stCxn id="20" idx="4"/>
              <a:endCxn id="11" idx="0"/>
            </p:cNvCxnSpPr>
            <p:nvPr/>
          </p:nvCxnSpPr>
          <p:spPr>
            <a:xfrm>
              <a:off x="4453288" y="3086243"/>
              <a:ext cx="51439" cy="148173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8" name="Straight Connector 447">
              <a:extLst>
                <a:ext uri="{FF2B5EF4-FFF2-40B4-BE49-F238E27FC236}">
                  <a16:creationId xmlns:a16="http://schemas.microsoft.com/office/drawing/2014/main" id="{4B2E7C89-7629-9D61-68F4-BF816D9BE903}"/>
                </a:ext>
              </a:extLst>
            </p:cNvPr>
            <p:cNvCxnSpPr>
              <a:cxnSpLocks/>
              <a:stCxn id="30" idx="3"/>
              <a:endCxn id="11" idx="7"/>
            </p:cNvCxnSpPr>
            <p:nvPr/>
          </p:nvCxnSpPr>
          <p:spPr>
            <a:xfrm flipH="1">
              <a:off x="4530183" y="3069691"/>
              <a:ext cx="93956" cy="175269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1" name="Straight Connector 450">
              <a:extLst>
                <a:ext uri="{FF2B5EF4-FFF2-40B4-BE49-F238E27FC236}">
                  <a16:creationId xmlns:a16="http://schemas.microsoft.com/office/drawing/2014/main" id="{5DB08DAE-F890-9A61-96B0-76590D5281C2}"/>
                </a:ext>
              </a:extLst>
            </p:cNvPr>
            <p:cNvCxnSpPr>
              <a:cxnSpLocks/>
              <a:stCxn id="22" idx="2"/>
              <a:endCxn id="11" idx="5"/>
            </p:cNvCxnSpPr>
            <p:nvPr/>
          </p:nvCxnSpPr>
          <p:spPr>
            <a:xfrm flipH="1" flipV="1">
              <a:off x="4530183" y="3295872"/>
              <a:ext cx="138128" cy="17962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6" name="Straight Connector 455">
              <a:extLst>
                <a:ext uri="{FF2B5EF4-FFF2-40B4-BE49-F238E27FC236}">
                  <a16:creationId xmlns:a16="http://schemas.microsoft.com/office/drawing/2014/main" id="{6AE6E4A7-240C-C4F7-D49D-2DEBEA4FC871}"/>
                </a:ext>
              </a:extLst>
            </p:cNvPr>
            <p:cNvCxnSpPr>
              <a:cxnSpLocks/>
              <a:stCxn id="29" idx="4"/>
              <a:endCxn id="11" idx="1"/>
            </p:cNvCxnSpPr>
            <p:nvPr/>
          </p:nvCxnSpPr>
          <p:spPr>
            <a:xfrm>
              <a:off x="4391294" y="3051557"/>
              <a:ext cx="87977" cy="193403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9" name="Straight Connector 458">
              <a:extLst>
                <a:ext uri="{FF2B5EF4-FFF2-40B4-BE49-F238E27FC236}">
                  <a16:creationId xmlns:a16="http://schemas.microsoft.com/office/drawing/2014/main" id="{8F7F3FB6-3FCB-5721-9D1F-D1C62F6CB3EF}"/>
                </a:ext>
              </a:extLst>
            </p:cNvPr>
            <p:cNvCxnSpPr>
              <a:cxnSpLocks/>
              <a:stCxn id="43" idx="6"/>
              <a:endCxn id="12" idx="2"/>
            </p:cNvCxnSpPr>
            <p:nvPr/>
          </p:nvCxnSpPr>
          <p:spPr>
            <a:xfrm>
              <a:off x="4274163" y="3366595"/>
              <a:ext cx="95021" cy="36745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4" name="Straight Connector 463">
              <a:extLst>
                <a:ext uri="{FF2B5EF4-FFF2-40B4-BE49-F238E27FC236}">
                  <a16:creationId xmlns:a16="http://schemas.microsoft.com/office/drawing/2014/main" id="{37BF6E43-DDF1-A157-C2E6-E2E5155E8343}"/>
                </a:ext>
              </a:extLst>
            </p:cNvPr>
            <p:cNvCxnSpPr>
              <a:cxnSpLocks/>
              <a:stCxn id="43" idx="6"/>
              <a:endCxn id="11" idx="3"/>
            </p:cNvCxnSpPr>
            <p:nvPr/>
          </p:nvCxnSpPr>
          <p:spPr>
            <a:xfrm flipV="1">
              <a:off x="4274163" y="3295872"/>
              <a:ext cx="205108" cy="70723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7" name="Straight Connector 466">
              <a:extLst>
                <a:ext uri="{FF2B5EF4-FFF2-40B4-BE49-F238E27FC236}">
                  <a16:creationId xmlns:a16="http://schemas.microsoft.com/office/drawing/2014/main" id="{808ED3BB-5535-F07C-BFB5-F9CF099630E5}"/>
                </a:ext>
              </a:extLst>
            </p:cNvPr>
            <p:cNvCxnSpPr>
              <a:cxnSpLocks/>
              <a:stCxn id="11" idx="6"/>
              <a:endCxn id="40" idx="2"/>
            </p:cNvCxnSpPr>
            <p:nvPr/>
          </p:nvCxnSpPr>
          <p:spPr>
            <a:xfrm flipV="1">
              <a:off x="4540727" y="3222679"/>
              <a:ext cx="80001" cy="47737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A08F266A-9E9C-463C-905D-ECD583981C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28114" y="3056229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CE81B030-E9F8-2E0C-7624-644938CF3E5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134055" y="3103412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CAC17FF4-8E19-C33F-F7CF-CCA02A87309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289421" y="3100087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470" name="Straight Connector 469">
              <a:extLst>
                <a:ext uri="{FF2B5EF4-FFF2-40B4-BE49-F238E27FC236}">
                  <a16:creationId xmlns:a16="http://schemas.microsoft.com/office/drawing/2014/main" id="{81DB76AD-6C76-4BC8-5003-F1A77CC5F451}"/>
                </a:ext>
              </a:extLst>
            </p:cNvPr>
            <p:cNvCxnSpPr>
              <a:cxnSpLocks/>
              <a:stCxn id="42" idx="5"/>
              <a:endCxn id="11" idx="1"/>
            </p:cNvCxnSpPr>
            <p:nvPr/>
          </p:nvCxnSpPr>
          <p:spPr>
            <a:xfrm>
              <a:off x="4224493" y="2769044"/>
              <a:ext cx="254778" cy="475916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3" name="Straight Connector 472">
              <a:extLst>
                <a:ext uri="{FF2B5EF4-FFF2-40B4-BE49-F238E27FC236}">
                  <a16:creationId xmlns:a16="http://schemas.microsoft.com/office/drawing/2014/main" id="{2FD2EE4A-6BB8-3F58-50F9-E502AF544685}"/>
                </a:ext>
              </a:extLst>
            </p:cNvPr>
            <p:cNvCxnSpPr>
              <a:cxnSpLocks/>
              <a:stCxn id="16" idx="4"/>
              <a:endCxn id="45" idx="7"/>
            </p:cNvCxnSpPr>
            <p:nvPr/>
          </p:nvCxnSpPr>
          <p:spPr>
            <a:xfrm flipH="1">
              <a:off x="4256181" y="2444893"/>
              <a:ext cx="44707" cy="89931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7" name="Straight Connector 476">
              <a:extLst>
                <a:ext uri="{FF2B5EF4-FFF2-40B4-BE49-F238E27FC236}">
                  <a16:creationId xmlns:a16="http://schemas.microsoft.com/office/drawing/2014/main" id="{6EC529CF-3219-3518-A77E-D7FF857D8EBD}"/>
                </a:ext>
              </a:extLst>
            </p:cNvPr>
            <p:cNvCxnSpPr>
              <a:cxnSpLocks/>
              <a:stCxn id="17" idx="2"/>
              <a:endCxn id="45" idx="6"/>
            </p:cNvCxnSpPr>
            <p:nvPr/>
          </p:nvCxnSpPr>
          <p:spPr>
            <a:xfrm flipH="1">
              <a:off x="4266725" y="2522143"/>
              <a:ext cx="168563" cy="38137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0" name="Straight Connector 479">
              <a:extLst>
                <a:ext uri="{FF2B5EF4-FFF2-40B4-BE49-F238E27FC236}">
                  <a16:creationId xmlns:a16="http://schemas.microsoft.com/office/drawing/2014/main" id="{C42CEECF-91BB-78CB-76EE-152F1FEA8D66}"/>
                </a:ext>
              </a:extLst>
            </p:cNvPr>
            <p:cNvCxnSpPr>
              <a:cxnSpLocks/>
              <a:stCxn id="45" idx="4"/>
              <a:endCxn id="18" idx="1"/>
            </p:cNvCxnSpPr>
            <p:nvPr/>
          </p:nvCxnSpPr>
          <p:spPr>
            <a:xfrm>
              <a:off x="4230725" y="2596280"/>
              <a:ext cx="16160" cy="36960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5" name="Straight Connector 484">
              <a:extLst>
                <a:ext uri="{FF2B5EF4-FFF2-40B4-BE49-F238E27FC236}">
                  <a16:creationId xmlns:a16="http://schemas.microsoft.com/office/drawing/2014/main" id="{42C0B6B8-0857-0E85-3B12-D1CB5C111158}"/>
                </a:ext>
              </a:extLst>
            </p:cNvPr>
            <p:cNvCxnSpPr>
              <a:cxnSpLocks/>
              <a:stCxn id="45" idx="4"/>
              <a:endCxn id="42" idx="0"/>
            </p:cNvCxnSpPr>
            <p:nvPr/>
          </p:nvCxnSpPr>
          <p:spPr>
            <a:xfrm flipH="1">
              <a:off x="4199037" y="2596280"/>
              <a:ext cx="31688" cy="111308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8" name="Straight Connector 487">
              <a:extLst>
                <a:ext uri="{FF2B5EF4-FFF2-40B4-BE49-F238E27FC236}">
                  <a16:creationId xmlns:a16="http://schemas.microsoft.com/office/drawing/2014/main" id="{2303A75D-BA26-DF99-529D-72F15AFB4C14}"/>
                </a:ext>
              </a:extLst>
            </p:cNvPr>
            <p:cNvCxnSpPr>
              <a:cxnSpLocks/>
              <a:stCxn id="13" idx="2"/>
              <a:endCxn id="17" idx="6"/>
            </p:cNvCxnSpPr>
            <p:nvPr/>
          </p:nvCxnSpPr>
          <p:spPr>
            <a:xfrm flipH="1">
              <a:off x="4471288" y="2412784"/>
              <a:ext cx="244662" cy="109359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2" name="Straight Connector 491">
              <a:extLst>
                <a:ext uri="{FF2B5EF4-FFF2-40B4-BE49-F238E27FC236}">
                  <a16:creationId xmlns:a16="http://schemas.microsoft.com/office/drawing/2014/main" id="{58D68479-137B-B118-4009-72A4FBFCB80B}"/>
                </a:ext>
              </a:extLst>
            </p:cNvPr>
            <p:cNvCxnSpPr>
              <a:cxnSpLocks/>
              <a:stCxn id="13" idx="2"/>
              <a:endCxn id="16" idx="6"/>
            </p:cNvCxnSpPr>
            <p:nvPr/>
          </p:nvCxnSpPr>
          <p:spPr>
            <a:xfrm flipH="1">
              <a:off x="4318888" y="2412784"/>
              <a:ext cx="397062" cy="14109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5" name="Straight Connector 494">
              <a:extLst>
                <a:ext uri="{FF2B5EF4-FFF2-40B4-BE49-F238E27FC236}">
                  <a16:creationId xmlns:a16="http://schemas.microsoft.com/office/drawing/2014/main" id="{12715D82-C12B-1D23-2A51-8F2BE9AB08CF}"/>
                </a:ext>
              </a:extLst>
            </p:cNvPr>
            <p:cNvCxnSpPr>
              <a:cxnSpLocks/>
              <a:stCxn id="19" idx="5"/>
              <a:endCxn id="45" idx="7"/>
            </p:cNvCxnSpPr>
            <p:nvPr/>
          </p:nvCxnSpPr>
          <p:spPr>
            <a:xfrm flipH="1">
              <a:off x="4256181" y="2261821"/>
              <a:ext cx="444785" cy="273003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9" name="Straight Connector 498">
              <a:extLst>
                <a:ext uri="{FF2B5EF4-FFF2-40B4-BE49-F238E27FC236}">
                  <a16:creationId xmlns:a16="http://schemas.microsoft.com/office/drawing/2014/main" id="{53732237-4104-E3E2-9A23-286836253316}"/>
                </a:ext>
              </a:extLst>
            </p:cNvPr>
            <p:cNvCxnSpPr>
              <a:cxnSpLocks/>
              <a:stCxn id="19" idx="5"/>
              <a:endCxn id="13" idx="0"/>
            </p:cNvCxnSpPr>
            <p:nvPr/>
          </p:nvCxnSpPr>
          <p:spPr>
            <a:xfrm>
              <a:off x="4700966" y="2261821"/>
              <a:ext cx="50984" cy="114963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2" name="Straight Connector 501">
              <a:extLst>
                <a:ext uri="{FF2B5EF4-FFF2-40B4-BE49-F238E27FC236}">
                  <a16:creationId xmlns:a16="http://schemas.microsoft.com/office/drawing/2014/main" id="{BD69ED37-07FB-9A7E-769A-8857844964AD}"/>
                </a:ext>
              </a:extLst>
            </p:cNvPr>
            <p:cNvCxnSpPr>
              <a:cxnSpLocks/>
              <a:stCxn id="13" idx="6"/>
              <a:endCxn id="15" idx="1"/>
            </p:cNvCxnSpPr>
            <p:nvPr/>
          </p:nvCxnSpPr>
          <p:spPr>
            <a:xfrm flipV="1">
              <a:off x="4787950" y="2404640"/>
              <a:ext cx="93935" cy="8144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5" name="Straight Connector 504">
              <a:extLst>
                <a:ext uri="{FF2B5EF4-FFF2-40B4-BE49-F238E27FC236}">
                  <a16:creationId xmlns:a16="http://schemas.microsoft.com/office/drawing/2014/main" id="{0E0A8AF1-77A5-F3CC-5C4F-A23F252E97B5}"/>
                </a:ext>
              </a:extLst>
            </p:cNvPr>
            <p:cNvCxnSpPr>
              <a:cxnSpLocks/>
              <a:stCxn id="13" idx="5"/>
              <a:endCxn id="31" idx="2"/>
            </p:cNvCxnSpPr>
            <p:nvPr/>
          </p:nvCxnSpPr>
          <p:spPr>
            <a:xfrm>
              <a:off x="4777406" y="2438240"/>
              <a:ext cx="28910" cy="18307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1" name="Straight Connector 510">
              <a:extLst>
                <a:ext uri="{FF2B5EF4-FFF2-40B4-BE49-F238E27FC236}">
                  <a16:creationId xmlns:a16="http://schemas.microsoft.com/office/drawing/2014/main" id="{6DF24030-2E4E-31D8-0AD6-FE45F7D35381}"/>
                </a:ext>
              </a:extLst>
            </p:cNvPr>
            <p:cNvCxnSpPr>
              <a:cxnSpLocks/>
              <a:stCxn id="41" idx="3"/>
              <a:endCxn id="13" idx="7"/>
            </p:cNvCxnSpPr>
            <p:nvPr/>
          </p:nvCxnSpPr>
          <p:spPr>
            <a:xfrm flipH="1">
              <a:off x="4777406" y="2294056"/>
              <a:ext cx="113955" cy="93272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4" name="Straight Connector 513">
              <a:extLst>
                <a:ext uri="{FF2B5EF4-FFF2-40B4-BE49-F238E27FC236}">
                  <a16:creationId xmlns:a16="http://schemas.microsoft.com/office/drawing/2014/main" id="{F9FC9FC8-713D-6B75-5A0C-4E78DBDB359B}"/>
                </a:ext>
              </a:extLst>
            </p:cNvPr>
            <p:cNvCxnSpPr>
              <a:cxnSpLocks/>
              <a:stCxn id="13" idx="3"/>
              <a:endCxn id="42" idx="7"/>
            </p:cNvCxnSpPr>
            <p:nvPr/>
          </p:nvCxnSpPr>
          <p:spPr>
            <a:xfrm flipH="1">
              <a:off x="4224493" y="2438240"/>
              <a:ext cx="502001" cy="279892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2" name="Straight Connector 531">
              <a:extLst>
                <a:ext uri="{FF2B5EF4-FFF2-40B4-BE49-F238E27FC236}">
                  <a16:creationId xmlns:a16="http://schemas.microsoft.com/office/drawing/2014/main" id="{5B6B8480-2590-5BE4-C064-0A7B7F4F30A3}"/>
                </a:ext>
              </a:extLst>
            </p:cNvPr>
            <p:cNvCxnSpPr>
              <a:cxnSpLocks/>
              <a:stCxn id="13" idx="4"/>
              <a:endCxn id="40" idx="7"/>
            </p:cNvCxnSpPr>
            <p:nvPr/>
          </p:nvCxnSpPr>
          <p:spPr>
            <a:xfrm flipH="1">
              <a:off x="4682184" y="2448784"/>
              <a:ext cx="69766" cy="748439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0" name="Straight Connector 559">
              <a:extLst>
                <a:ext uri="{FF2B5EF4-FFF2-40B4-BE49-F238E27FC236}">
                  <a16:creationId xmlns:a16="http://schemas.microsoft.com/office/drawing/2014/main" id="{8C47C042-3721-6814-8157-19D0C648D8CC}"/>
                </a:ext>
              </a:extLst>
            </p:cNvPr>
            <p:cNvCxnSpPr>
              <a:cxnSpLocks/>
              <a:stCxn id="45" idx="5"/>
              <a:endCxn id="40" idx="1"/>
            </p:cNvCxnSpPr>
            <p:nvPr/>
          </p:nvCxnSpPr>
          <p:spPr>
            <a:xfrm>
              <a:off x="4256181" y="2585736"/>
              <a:ext cx="375091" cy="611487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4" name="Straight Connector 573">
              <a:extLst>
                <a:ext uri="{FF2B5EF4-FFF2-40B4-BE49-F238E27FC236}">
                  <a16:creationId xmlns:a16="http://schemas.microsoft.com/office/drawing/2014/main" id="{DFC061EE-5C5F-3565-6487-59E62B9B1EEE}"/>
                </a:ext>
              </a:extLst>
            </p:cNvPr>
            <p:cNvCxnSpPr>
              <a:cxnSpLocks/>
              <a:stCxn id="568" idx="7"/>
              <a:endCxn id="42" idx="3"/>
            </p:cNvCxnSpPr>
            <p:nvPr/>
          </p:nvCxnSpPr>
          <p:spPr>
            <a:xfrm flipV="1">
              <a:off x="3226821" y="2769044"/>
              <a:ext cx="946760" cy="408689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57543AF3-4E95-23A9-F02F-D274D4D4FFF8}"/>
                </a:ext>
              </a:extLst>
            </p:cNvPr>
            <p:cNvCxnSpPr>
              <a:cxnSpLocks/>
              <a:stCxn id="568" idx="6"/>
              <a:endCxn id="43" idx="2"/>
            </p:cNvCxnSpPr>
            <p:nvPr/>
          </p:nvCxnSpPr>
          <p:spPr>
            <a:xfrm>
              <a:off x="3237365" y="3203189"/>
              <a:ext cx="964798" cy="163406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67BEC963-7135-1811-C425-DBAFF8B1B1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33473" y="3118087"/>
              <a:ext cx="72000" cy="72000"/>
            </a:xfrm>
            <a:prstGeom prst="ellipse">
              <a:avLst/>
            </a:prstGeom>
            <a:solidFill>
              <a:schemeClr val="accent2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6651559A-A7EC-6250-6339-513A96AC6DA5}"/>
                </a:ext>
              </a:extLst>
            </p:cNvPr>
            <p:cNvCxnSpPr>
              <a:cxnSpLocks/>
              <a:stCxn id="568" idx="6"/>
              <a:endCxn id="68" idx="2"/>
            </p:cNvCxnSpPr>
            <p:nvPr/>
          </p:nvCxnSpPr>
          <p:spPr>
            <a:xfrm flipV="1">
              <a:off x="3237365" y="3154087"/>
              <a:ext cx="396108" cy="49102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A3D56038-F318-5DF9-C4B0-A6AB031A1848}"/>
                </a:ext>
              </a:extLst>
            </p:cNvPr>
            <p:cNvCxnSpPr>
              <a:cxnSpLocks/>
              <a:stCxn id="568" idx="0"/>
              <a:endCxn id="44" idx="4"/>
            </p:cNvCxnSpPr>
            <p:nvPr/>
          </p:nvCxnSpPr>
          <p:spPr>
            <a:xfrm flipH="1" flipV="1">
              <a:off x="3183120" y="3050319"/>
              <a:ext cx="18245" cy="116870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627C8E9-1AE9-F2C1-2E9F-BF89AC6554C1}"/>
                </a:ext>
              </a:extLst>
            </p:cNvPr>
            <p:cNvCxnSpPr>
              <a:cxnSpLocks/>
              <a:stCxn id="45" idx="2"/>
              <a:endCxn id="39" idx="7"/>
            </p:cNvCxnSpPr>
            <p:nvPr/>
          </p:nvCxnSpPr>
          <p:spPr>
            <a:xfrm flipH="1">
              <a:off x="3258842" y="2560280"/>
              <a:ext cx="935883" cy="501221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075FEAFF-6FBB-BB44-22EA-9497388D8C4D}"/>
                </a:ext>
              </a:extLst>
            </p:cNvPr>
            <p:cNvCxnSpPr>
              <a:cxnSpLocks/>
              <a:stCxn id="568" idx="0"/>
              <a:endCxn id="33" idx="4"/>
            </p:cNvCxnSpPr>
            <p:nvPr/>
          </p:nvCxnSpPr>
          <p:spPr>
            <a:xfrm flipH="1" flipV="1">
              <a:off x="3198212" y="2937675"/>
              <a:ext cx="3153" cy="229514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506F3A52-816D-D021-F233-927EA861B872}"/>
                </a:ext>
              </a:extLst>
            </p:cNvPr>
            <p:cNvCxnSpPr>
              <a:cxnSpLocks/>
              <a:stCxn id="39" idx="4"/>
              <a:endCxn id="568" idx="0"/>
            </p:cNvCxnSpPr>
            <p:nvPr/>
          </p:nvCxnSpPr>
          <p:spPr>
            <a:xfrm flipH="1">
              <a:off x="3201365" y="3092229"/>
              <a:ext cx="44749" cy="74960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34C37B8F-4F47-B438-E402-4E5A2816AA3F}"/>
                </a:ext>
              </a:extLst>
            </p:cNvPr>
            <p:cNvCxnSpPr>
              <a:cxnSpLocks/>
              <a:stCxn id="37" idx="0"/>
              <a:endCxn id="568" idx="1"/>
            </p:cNvCxnSpPr>
            <p:nvPr/>
          </p:nvCxnSpPr>
          <p:spPr>
            <a:xfrm>
              <a:off x="3152055" y="3103412"/>
              <a:ext cx="23854" cy="74321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F7941CBB-D841-4D7D-7CB9-3250108455B3}"/>
                </a:ext>
              </a:extLst>
            </p:cNvPr>
            <p:cNvCxnSpPr>
              <a:cxnSpLocks/>
              <a:stCxn id="34" idx="0"/>
              <a:endCxn id="568" idx="2"/>
            </p:cNvCxnSpPr>
            <p:nvPr/>
          </p:nvCxnSpPr>
          <p:spPr>
            <a:xfrm flipV="1">
              <a:off x="3130591" y="3203189"/>
              <a:ext cx="34774" cy="8207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A78741F0-470B-63CC-CE2A-793CD7EADB12}"/>
                </a:ext>
              </a:extLst>
            </p:cNvPr>
            <p:cNvCxnSpPr>
              <a:cxnSpLocks/>
              <a:stCxn id="36" idx="5"/>
              <a:endCxn id="568" idx="6"/>
            </p:cNvCxnSpPr>
            <p:nvPr/>
          </p:nvCxnSpPr>
          <p:spPr>
            <a:xfrm flipH="1" flipV="1">
              <a:off x="3237365" y="3203189"/>
              <a:ext cx="56278" cy="45338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0DE9CEA9-1519-C667-A481-DEB38E1510A9}"/>
                </a:ext>
              </a:extLst>
            </p:cNvPr>
            <p:cNvCxnSpPr>
              <a:cxnSpLocks/>
              <a:stCxn id="38" idx="1"/>
              <a:endCxn id="568" idx="7"/>
            </p:cNvCxnSpPr>
            <p:nvPr/>
          </p:nvCxnSpPr>
          <p:spPr>
            <a:xfrm flipH="1">
              <a:off x="3226821" y="3105359"/>
              <a:ext cx="67872" cy="72374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C9216689-C0AB-911B-2838-BBC83F5E2329}"/>
                </a:ext>
              </a:extLst>
            </p:cNvPr>
            <p:cNvCxnSpPr>
              <a:cxnSpLocks/>
              <a:stCxn id="32" idx="2"/>
              <a:endCxn id="568" idx="6"/>
            </p:cNvCxnSpPr>
            <p:nvPr/>
          </p:nvCxnSpPr>
          <p:spPr>
            <a:xfrm flipH="1" flipV="1">
              <a:off x="3237365" y="3203189"/>
              <a:ext cx="119851" cy="12467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2EAE9CF2-2CBA-9E76-C575-300328012D11}"/>
                </a:ext>
              </a:extLst>
            </p:cNvPr>
            <p:cNvCxnSpPr>
              <a:cxnSpLocks/>
              <a:stCxn id="43" idx="5"/>
              <a:endCxn id="14" idx="1"/>
            </p:cNvCxnSpPr>
            <p:nvPr/>
          </p:nvCxnSpPr>
          <p:spPr>
            <a:xfrm>
              <a:off x="4263619" y="3392051"/>
              <a:ext cx="839854" cy="686124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CAE66D61-E967-173B-7980-D754252D9A0B}"/>
                </a:ext>
              </a:extLst>
            </p:cNvPr>
            <p:cNvCxnSpPr>
              <a:cxnSpLocks/>
              <a:stCxn id="40" idx="5"/>
              <a:endCxn id="14" idx="1"/>
            </p:cNvCxnSpPr>
            <p:nvPr/>
          </p:nvCxnSpPr>
          <p:spPr>
            <a:xfrm>
              <a:off x="4682184" y="3248135"/>
              <a:ext cx="421289" cy="830040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Oval 114">
              <a:extLst>
                <a:ext uri="{FF2B5EF4-FFF2-40B4-BE49-F238E27FC236}">
                  <a16:creationId xmlns:a16="http://schemas.microsoft.com/office/drawing/2014/main" id="{6F787059-FFE7-7E7C-A2CA-9130C1FA2F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09568" y="4031631"/>
              <a:ext cx="72000" cy="72000"/>
            </a:xfrm>
            <a:prstGeom prst="ellipse">
              <a:avLst/>
            </a:prstGeom>
            <a:solidFill>
              <a:schemeClr val="accent2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A1B621CB-41B7-78A3-9C7A-483F38BA8021}"/>
                </a:ext>
              </a:extLst>
            </p:cNvPr>
            <p:cNvCxnSpPr>
              <a:cxnSpLocks/>
              <a:stCxn id="14" idx="6"/>
              <a:endCxn id="115" idx="2"/>
            </p:cNvCxnSpPr>
            <p:nvPr/>
          </p:nvCxnSpPr>
          <p:spPr>
            <a:xfrm flipV="1">
              <a:off x="5164929" y="4067631"/>
              <a:ext cx="144639" cy="36000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C0EA344A-B46D-7E68-ADFE-FAC050094838}"/>
                </a:ext>
              </a:extLst>
            </p:cNvPr>
            <p:cNvCxnSpPr>
              <a:cxnSpLocks/>
              <a:stCxn id="11" idx="5"/>
              <a:endCxn id="115" idx="1"/>
            </p:cNvCxnSpPr>
            <p:nvPr/>
          </p:nvCxnSpPr>
          <p:spPr>
            <a:xfrm>
              <a:off x="4530183" y="3295872"/>
              <a:ext cx="789929" cy="746303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406C601-6502-42F9-1741-5D4826ADDA6E}"/>
                </a:ext>
              </a:extLst>
            </p:cNvPr>
            <p:cNvCxnSpPr>
              <a:cxnSpLocks/>
              <a:stCxn id="12" idx="5"/>
              <a:endCxn id="115" idx="1"/>
            </p:cNvCxnSpPr>
            <p:nvPr/>
          </p:nvCxnSpPr>
          <p:spPr>
            <a:xfrm>
              <a:off x="4430640" y="3428796"/>
              <a:ext cx="889472" cy="613379"/>
            </a:xfrm>
            <a:prstGeom prst="line">
              <a:avLst/>
            </a:prstGeom>
            <a:ln w="6350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CE8A39D4-0267-B5F3-1C78-DC1742474F4A}"/>
                </a:ext>
              </a:extLst>
            </p:cNvPr>
            <p:cNvCxnSpPr>
              <a:cxnSpLocks/>
              <a:stCxn id="14" idx="2"/>
              <a:endCxn id="193" idx="5"/>
            </p:cNvCxnSpPr>
            <p:nvPr/>
          </p:nvCxnSpPr>
          <p:spPr>
            <a:xfrm flipH="1" flipV="1">
              <a:off x="5026956" y="4097220"/>
              <a:ext cx="65973" cy="6411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6" name="Oval 125">
              <a:extLst>
                <a:ext uri="{FF2B5EF4-FFF2-40B4-BE49-F238E27FC236}">
                  <a16:creationId xmlns:a16="http://schemas.microsoft.com/office/drawing/2014/main" id="{0AD2985A-266C-482B-37CB-E04534376C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93082" y="3985445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F5B5F64F-DEE5-B717-DB9B-2DCDCC498C7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57082" y="4260887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4DDCFBEF-991C-7C3C-9BFE-339DD4217A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16345" y="4202754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3" name="Oval 192">
              <a:extLst>
                <a:ext uri="{FF2B5EF4-FFF2-40B4-BE49-F238E27FC236}">
                  <a16:creationId xmlns:a16="http://schemas.microsoft.com/office/drawing/2014/main" id="{B50BEF99-E9C8-836E-D596-104057AB376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96228" y="4066492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BFEF610C-61A2-7A6A-97C2-DFB40C3FCD2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19705" y="4013631"/>
              <a:ext cx="36000" cy="3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95" name="Straight Connector 194">
              <a:extLst>
                <a:ext uri="{FF2B5EF4-FFF2-40B4-BE49-F238E27FC236}">
                  <a16:creationId xmlns:a16="http://schemas.microsoft.com/office/drawing/2014/main" id="{CAF9552B-498B-A469-2CFF-78DD558C2732}"/>
                </a:ext>
              </a:extLst>
            </p:cNvPr>
            <p:cNvCxnSpPr>
              <a:cxnSpLocks/>
              <a:stCxn id="126" idx="4"/>
              <a:endCxn id="14" idx="7"/>
            </p:cNvCxnSpPr>
            <p:nvPr/>
          </p:nvCxnSpPr>
          <p:spPr>
            <a:xfrm flipH="1">
              <a:off x="5154385" y="4021445"/>
              <a:ext cx="56697" cy="56730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E683460D-90B1-AD53-EC70-23E262D3956B}"/>
                </a:ext>
              </a:extLst>
            </p:cNvPr>
            <p:cNvCxnSpPr>
              <a:cxnSpLocks/>
              <a:stCxn id="192" idx="2"/>
              <a:endCxn id="14" idx="5"/>
            </p:cNvCxnSpPr>
            <p:nvPr/>
          </p:nvCxnSpPr>
          <p:spPr>
            <a:xfrm flipH="1" flipV="1">
              <a:off x="5154385" y="4129087"/>
              <a:ext cx="261960" cy="91667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CAE2D7D6-7FBF-E35A-288F-F70A7E914D02}"/>
                </a:ext>
              </a:extLst>
            </p:cNvPr>
            <p:cNvCxnSpPr>
              <a:cxnSpLocks/>
              <a:stCxn id="127" idx="0"/>
              <a:endCxn id="14" idx="4"/>
            </p:cNvCxnSpPr>
            <p:nvPr/>
          </p:nvCxnSpPr>
          <p:spPr>
            <a:xfrm flipH="1" flipV="1">
              <a:off x="5128929" y="4139631"/>
              <a:ext cx="46153" cy="121256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60A27DBB-D11A-7266-AABA-C9B04387EFDC}"/>
                </a:ext>
              </a:extLst>
            </p:cNvPr>
            <p:cNvCxnSpPr>
              <a:cxnSpLocks/>
              <a:stCxn id="14" idx="0"/>
              <a:endCxn id="194" idx="3"/>
            </p:cNvCxnSpPr>
            <p:nvPr/>
          </p:nvCxnSpPr>
          <p:spPr>
            <a:xfrm flipH="1" flipV="1">
              <a:off x="5124977" y="4044359"/>
              <a:ext cx="3952" cy="23272"/>
            </a:xfrm>
            <a:prstGeom prst="line">
              <a:avLst/>
            </a:prstGeom>
            <a:ln w="0">
              <a:solidFill>
                <a:schemeClr val="accent1">
                  <a:lumMod val="25000"/>
                  <a:lumOff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0ABC8467-405F-B6A2-2D58-14C708A9CF08}"/>
              </a:ext>
            </a:extLst>
          </p:cNvPr>
          <p:cNvCxnSpPr>
            <a:cxnSpLocks/>
            <a:stCxn id="568" idx="6"/>
            <a:endCxn id="40" idx="1"/>
          </p:cNvCxnSpPr>
          <p:nvPr/>
        </p:nvCxnSpPr>
        <p:spPr>
          <a:xfrm flipV="1">
            <a:off x="1757648" y="3197223"/>
            <a:ext cx="1393907" cy="5966"/>
          </a:xfrm>
          <a:prstGeom prst="line">
            <a:avLst/>
          </a:prstGeom>
          <a:ln w="63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82056A05-9125-22EA-A7DA-4850198C9D87}"/>
              </a:ext>
            </a:extLst>
          </p:cNvPr>
          <p:cNvCxnSpPr>
            <a:cxnSpLocks/>
            <a:stCxn id="568" idx="7"/>
            <a:endCxn id="41" idx="3"/>
          </p:cNvCxnSpPr>
          <p:nvPr/>
        </p:nvCxnSpPr>
        <p:spPr>
          <a:xfrm flipV="1">
            <a:off x="1747104" y="2294056"/>
            <a:ext cx="1664540" cy="883677"/>
          </a:xfrm>
          <a:prstGeom prst="line">
            <a:avLst/>
          </a:prstGeom>
          <a:ln w="63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8BBB774E-65AE-3411-245C-291C7974E7A9}"/>
              </a:ext>
            </a:extLst>
          </p:cNvPr>
          <p:cNvCxnSpPr>
            <a:cxnSpLocks/>
            <a:stCxn id="13" idx="3"/>
            <a:endCxn id="30" idx="0"/>
          </p:cNvCxnSpPr>
          <p:nvPr/>
        </p:nvCxnSpPr>
        <p:spPr>
          <a:xfrm flipH="1">
            <a:off x="3157150" y="2438240"/>
            <a:ext cx="89627" cy="600723"/>
          </a:xfrm>
          <a:prstGeom prst="line">
            <a:avLst/>
          </a:prstGeom>
          <a:ln w="0">
            <a:solidFill>
              <a:schemeClr val="accent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>
            <a:extLst>
              <a:ext uri="{FF2B5EF4-FFF2-40B4-BE49-F238E27FC236}">
                <a16:creationId xmlns:a16="http://schemas.microsoft.com/office/drawing/2014/main" id="{39265317-7840-E7AC-5409-8F784287C2AF}"/>
              </a:ext>
            </a:extLst>
          </p:cNvPr>
          <p:cNvCxnSpPr>
            <a:cxnSpLocks/>
            <a:stCxn id="45" idx="5"/>
            <a:endCxn id="30" idx="1"/>
          </p:cNvCxnSpPr>
          <p:nvPr/>
        </p:nvCxnSpPr>
        <p:spPr>
          <a:xfrm>
            <a:off x="2776464" y="2585736"/>
            <a:ext cx="367958" cy="458499"/>
          </a:xfrm>
          <a:prstGeom prst="line">
            <a:avLst/>
          </a:prstGeom>
          <a:ln w="0">
            <a:solidFill>
              <a:schemeClr val="accent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A88F5C94-7385-099A-4690-A435D02DEF8C}"/>
              </a:ext>
            </a:extLst>
          </p:cNvPr>
          <p:cNvCxnSpPr>
            <a:cxnSpLocks/>
            <a:stCxn id="45" idx="5"/>
            <a:endCxn id="20" idx="1"/>
          </p:cNvCxnSpPr>
          <p:nvPr/>
        </p:nvCxnSpPr>
        <p:spPr>
          <a:xfrm>
            <a:off x="2776464" y="2585736"/>
            <a:ext cx="184379" cy="469779"/>
          </a:xfrm>
          <a:prstGeom prst="line">
            <a:avLst/>
          </a:prstGeom>
          <a:ln w="0">
            <a:solidFill>
              <a:schemeClr val="accent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2" name="Group 271">
            <a:extLst>
              <a:ext uri="{FF2B5EF4-FFF2-40B4-BE49-F238E27FC236}">
                <a16:creationId xmlns:a16="http://schemas.microsoft.com/office/drawing/2014/main" id="{E9FB6EB2-1D1E-CF5C-D38E-0CF1632BFAFE}"/>
              </a:ext>
            </a:extLst>
          </p:cNvPr>
          <p:cNvGrpSpPr/>
          <p:nvPr/>
        </p:nvGrpSpPr>
        <p:grpSpPr>
          <a:xfrm>
            <a:off x="5400000" y="2052000"/>
            <a:ext cx="3312000" cy="1584000"/>
            <a:chOff x="5400000" y="1550350"/>
            <a:chExt cx="3312000" cy="1584000"/>
          </a:xfrm>
        </p:grpSpPr>
        <p:sp>
          <p:nvSpPr>
            <p:cNvPr id="273" name="Oval 272">
              <a:extLst>
                <a:ext uri="{FF2B5EF4-FFF2-40B4-BE49-F238E27FC236}">
                  <a16:creationId xmlns:a16="http://schemas.microsoft.com/office/drawing/2014/main" id="{370A2548-6B62-E984-9889-36FA2ADBFFE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00000" y="1694350"/>
              <a:ext cx="216000" cy="216000"/>
            </a:xfrm>
            <a:prstGeom prst="ellipse">
              <a:avLst/>
            </a:prstGeom>
            <a:solidFill>
              <a:schemeClr val="accent2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E4FF65D6-6258-472B-17EB-82FD03DD3BB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00000" y="2234350"/>
              <a:ext cx="216000" cy="216000"/>
            </a:xfrm>
            <a:prstGeom prst="ellipse">
              <a:avLst/>
            </a:prstGeom>
            <a:solidFill>
              <a:srgbClr val="006DF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5" name="Oval 274">
              <a:extLst>
                <a:ext uri="{FF2B5EF4-FFF2-40B4-BE49-F238E27FC236}">
                  <a16:creationId xmlns:a16="http://schemas.microsoft.com/office/drawing/2014/main" id="{0875D04F-2F83-F190-2D4A-495B332475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00000" y="2774350"/>
              <a:ext cx="216000" cy="216000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76" name="TextBox 275">
              <a:extLst>
                <a:ext uri="{FF2B5EF4-FFF2-40B4-BE49-F238E27FC236}">
                  <a16:creationId xmlns:a16="http://schemas.microsoft.com/office/drawing/2014/main" id="{7BE63B25-E0F5-AD54-1244-81FD8F57F86E}"/>
                </a:ext>
              </a:extLst>
            </p:cNvPr>
            <p:cNvSpPr txBox="1"/>
            <p:nvPr/>
          </p:nvSpPr>
          <p:spPr>
            <a:xfrm>
              <a:off x="5868000" y="1550350"/>
              <a:ext cx="2844000" cy="5040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rIns="36000" rtlCol="0" anchor="ctr">
              <a:noAutofit/>
            </a:bodyPr>
            <a:lstStyle/>
            <a:p>
              <a:r>
                <a:rPr lang="en-GB" sz="1000" b="1">
                  <a:solidFill>
                    <a:srgbClr val="10069F"/>
                  </a:solidFill>
                </a:rPr>
                <a:t>SMR(s) </a:t>
              </a:r>
              <a:r>
                <a:rPr lang="en-GB" sz="1000">
                  <a:solidFill>
                    <a:srgbClr val="10069F"/>
                  </a:solidFill>
                </a:rPr>
                <a:t>- Potentially multiple SMRs in each country</a:t>
              </a:r>
            </a:p>
          </p:txBody>
        </p:sp>
        <p:sp>
          <p:nvSpPr>
            <p:cNvPr id="277" name="TextBox 276">
              <a:extLst>
                <a:ext uri="{FF2B5EF4-FFF2-40B4-BE49-F238E27FC236}">
                  <a16:creationId xmlns:a16="http://schemas.microsoft.com/office/drawing/2014/main" id="{48A2EB52-F42B-8798-05C3-C4F8BABBE683}"/>
                </a:ext>
              </a:extLst>
            </p:cNvPr>
            <p:cNvSpPr txBox="1"/>
            <p:nvPr/>
          </p:nvSpPr>
          <p:spPr>
            <a:xfrm>
              <a:off x="5868000" y="2090350"/>
              <a:ext cx="2844000" cy="5040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rIns="36000" rtlCol="0" anchor="ctr">
              <a:noAutofit/>
            </a:bodyPr>
            <a:lstStyle/>
            <a:p>
              <a:r>
                <a:rPr lang="en-GB" sz="1000" b="1">
                  <a:solidFill>
                    <a:srgbClr val="10069F"/>
                  </a:solidFill>
                </a:rPr>
                <a:t>Factories</a:t>
              </a:r>
              <a:r>
                <a:rPr lang="en-GB" sz="1000">
                  <a:solidFill>
                    <a:srgbClr val="10069F"/>
                  </a:solidFill>
                </a:rPr>
                <a:t> - Potential factories manufacturing modules and delivering them to sites across the region</a:t>
              </a:r>
            </a:p>
          </p:txBody>
        </p:sp>
        <p:sp>
          <p:nvSpPr>
            <p:cNvPr id="278" name="TextBox 277">
              <a:extLst>
                <a:ext uri="{FF2B5EF4-FFF2-40B4-BE49-F238E27FC236}">
                  <a16:creationId xmlns:a16="http://schemas.microsoft.com/office/drawing/2014/main" id="{422A5D81-AA0D-AF40-E5CB-82A8815C47EE}"/>
                </a:ext>
              </a:extLst>
            </p:cNvPr>
            <p:cNvSpPr txBox="1"/>
            <p:nvPr/>
          </p:nvSpPr>
          <p:spPr>
            <a:xfrm>
              <a:off x="5868000" y="2630350"/>
              <a:ext cx="2844000" cy="5040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rIns="36000" rtlCol="0" anchor="ctr">
              <a:noAutofit/>
            </a:bodyPr>
            <a:lstStyle/>
            <a:p>
              <a:r>
                <a:rPr lang="en-GB" sz="1000" b="1">
                  <a:solidFill>
                    <a:srgbClr val="10069F"/>
                  </a:solidFill>
                </a:rPr>
                <a:t>Supply Chain </a:t>
              </a:r>
              <a:r>
                <a:rPr lang="en-GB" sz="1000">
                  <a:solidFill>
                    <a:srgbClr val="10069F"/>
                  </a:solidFill>
                </a:rPr>
                <a:t>- Potential supply chain entities delivering components to all factories in region, providing multiple layers of redundanc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19617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D788A4-705A-42D0-8F06-9E64734337F7}"/>
              </a:ext>
            </a:extLst>
          </p:cNvPr>
          <p:cNvSpPr/>
          <p:nvPr/>
        </p:nvSpPr>
        <p:spPr>
          <a:xfrm>
            <a:off x="0" y="1092200"/>
            <a:ext cx="9144000" cy="4051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19F19C7B-239D-468D-B091-8A27E99DE384}"/>
              </a:ext>
            </a:extLst>
          </p:cNvPr>
          <p:cNvSpPr>
            <a:spLocks/>
          </p:cNvSpPr>
          <p:nvPr/>
        </p:nvSpPr>
        <p:spPr bwMode="auto">
          <a:xfrm>
            <a:off x="411146" y="1368783"/>
            <a:ext cx="1182301" cy="3110851"/>
          </a:xfrm>
          <a:custGeom>
            <a:avLst/>
            <a:gdLst>
              <a:gd name="T0" fmla="*/ 0 w 445"/>
              <a:gd name="T1" fmla="*/ 0 h 2010"/>
              <a:gd name="T2" fmla="*/ 445 w 445"/>
              <a:gd name="T3" fmla="*/ 0 h 2010"/>
              <a:gd name="T4" fmla="*/ 445 w 445"/>
              <a:gd name="T5" fmla="*/ 2010 h 2010"/>
              <a:gd name="T6" fmla="*/ 0 w 445"/>
              <a:gd name="T7" fmla="*/ 2010 h 2010"/>
              <a:gd name="T8" fmla="*/ 0 w 445"/>
              <a:gd name="T9" fmla="*/ 0 h 2010"/>
              <a:gd name="T10" fmla="*/ 0 w 445"/>
              <a:gd name="T11" fmla="*/ 0 h 20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45" h="2010">
                <a:moveTo>
                  <a:pt x="0" y="0"/>
                </a:moveTo>
                <a:lnTo>
                  <a:pt x="445" y="0"/>
                </a:lnTo>
                <a:lnTo>
                  <a:pt x="445" y="2010"/>
                </a:lnTo>
                <a:lnTo>
                  <a:pt x="0" y="2010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28575" cap="flat">
            <a:solidFill>
              <a:srgbClr val="006DFF"/>
            </a:solidFill>
            <a:prstDash val="solid"/>
            <a:miter lim="800000"/>
            <a:headEnd/>
            <a:tailEnd/>
          </a:ln>
        </p:spPr>
        <p:txBody>
          <a:bodyPr vert="horz" wrap="square" lIns="18288" tIns="45720" rIns="18288" bIns="18288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Conventional EPC (e.g. Large nuclear)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180975" marR="0" lvl="0" indent="-12700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10069F"/>
              </a:buClr>
              <a:buSzTx/>
              <a:buFont typeface="Courier New" panose="02070309020205020404" pitchFamily="49" charset="0"/>
              <a:buChar char="o"/>
              <a:tabLst>
                <a:tab pos="90488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Mega project GBP10bn+</a:t>
            </a:r>
          </a:p>
          <a:p>
            <a:pPr marL="180975" marR="0" lvl="0" indent="-12700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10069F"/>
              </a:buClr>
              <a:buSzTx/>
              <a:buFont typeface="Courier New" panose="02070309020205020404" pitchFamily="49" charset="0"/>
              <a:buChar char="o"/>
              <a:tabLst>
                <a:tab pos="90488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Reactor only, </a:t>
            </a: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not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 whole plant</a:t>
            </a:r>
          </a:p>
          <a:p>
            <a:pPr marL="180975" marR="0" lvl="0" indent="-12700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10069F"/>
              </a:buClr>
              <a:buSzTx/>
              <a:buFont typeface="Courier New" panose="02070309020205020404" pitchFamily="49" charset="0"/>
              <a:buChar char="o"/>
              <a:tabLst>
                <a:tab pos="90488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Government driven</a:t>
            </a:r>
          </a:p>
          <a:p>
            <a:pPr marL="180975" marR="0" lvl="0" indent="-12700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10069F"/>
              </a:buClr>
              <a:buSzTx/>
              <a:buFont typeface="Courier New" panose="02070309020205020404" pitchFamily="49" charset="0"/>
              <a:buChar char="o"/>
              <a:tabLst>
                <a:tab pos="90488" algn="l"/>
              </a:tabLst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Commercially complex</a:t>
            </a:r>
          </a:p>
        </p:txBody>
      </p:sp>
      <p:sp>
        <p:nvSpPr>
          <p:cNvPr id="23" name="Freeform 7">
            <a:extLst>
              <a:ext uri="{FF2B5EF4-FFF2-40B4-BE49-F238E27FC236}">
                <a16:creationId xmlns:a16="http://schemas.microsoft.com/office/drawing/2014/main" id="{F4EE0501-E9C7-4B8B-88FB-3082212FB5E5}"/>
              </a:ext>
            </a:extLst>
          </p:cNvPr>
          <p:cNvSpPr>
            <a:spLocks/>
          </p:cNvSpPr>
          <p:nvPr/>
        </p:nvSpPr>
        <p:spPr bwMode="auto">
          <a:xfrm>
            <a:off x="3242868" y="2278846"/>
            <a:ext cx="1305842" cy="2233711"/>
          </a:xfrm>
          <a:custGeom>
            <a:avLst/>
            <a:gdLst>
              <a:gd name="T0" fmla="*/ 487 w 487"/>
              <a:gd name="T1" fmla="*/ 1228 h 1228"/>
              <a:gd name="T2" fmla="*/ 0 w 487"/>
              <a:gd name="T3" fmla="*/ 1228 h 1228"/>
              <a:gd name="T4" fmla="*/ 0 w 487"/>
              <a:gd name="T5" fmla="*/ 0 h 1228"/>
              <a:gd name="T6" fmla="*/ 487 w 487"/>
              <a:gd name="T7" fmla="*/ 330 h 1228"/>
              <a:gd name="T8" fmla="*/ 487 w 487"/>
              <a:gd name="T9" fmla="*/ 1228 h 1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7" h="1228">
                <a:moveTo>
                  <a:pt x="487" y="1228"/>
                </a:moveTo>
                <a:lnTo>
                  <a:pt x="0" y="1228"/>
                </a:lnTo>
                <a:lnTo>
                  <a:pt x="0" y="0"/>
                </a:lnTo>
                <a:lnTo>
                  <a:pt x="487" y="330"/>
                </a:lnTo>
                <a:lnTo>
                  <a:pt x="487" y="1228"/>
                </a:lnTo>
                <a:close/>
              </a:path>
            </a:pathLst>
          </a:custGeom>
          <a:solidFill>
            <a:schemeClr val="tx1"/>
          </a:solidFill>
          <a:ln w="28575" cap="flat">
            <a:solidFill>
              <a:srgbClr val="006DFF"/>
            </a:solidFill>
            <a:prstDash val="solid"/>
            <a:miter lim="800000"/>
            <a:headEnd/>
            <a:tailEnd/>
          </a:ln>
        </p:spPr>
        <p:txBody>
          <a:bodyPr vert="horz" wrap="square" lIns="18288" tIns="45720" rIns="18288" bIns="18288" numCol="1" anchor="t" anchorCtr="0" compatLnSpc="1">
            <a:prstTxWarp prst="textNoShape">
              <a:avLst/>
            </a:prstTxWarp>
          </a:bodyPr>
          <a:lstStyle/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Factory Product</a:t>
            </a:r>
          </a:p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E64AA80-7D0F-4E7D-A3C2-51E431305DCD}"/>
              </a:ext>
            </a:extLst>
          </p:cNvPr>
          <p:cNvGrpSpPr/>
          <p:nvPr/>
        </p:nvGrpSpPr>
        <p:grpSpPr>
          <a:xfrm>
            <a:off x="549750" y="3571838"/>
            <a:ext cx="922405" cy="732117"/>
            <a:chOff x="3470649" y="1139880"/>
            <a:chExt cx="616414" cy="429075"/>
          </a:xfrm>
        </p:grpSpPr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B241ECA2-2DBA-4B67-9D9E-3488C8C8FAA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713729" y="1139880"/>
              <a:ext cx="373334" cy="429075"/>
            </a:xfrm>
            <a:custGeom>
              <a:avLst/>
              <a:gdLst>
                <a:gd name="T0" fmla="*/ 1062 w 1398"/>
                <a:gd name="T1" fmla="*/ 1453 h 1603"/>
                <a:gd name="T2" fmla="*/ 336 w 1398"/>
                <a:gd name="T3" fmla="*/ 1453 h 1603"/>
                <a:gd name="T4" fmla="*/ 366 w 1398"/>
                <a:gd name="T5" fmla="*/ 1538 h 1603"/>
                <a:gd name="T6" fmla="*/ 420 w 1398"/>
                <a:gd name="T7" fmla="*/ 1570 h 1603"/>
                <a:gd name="T8" fmla="*/ 366 w 1398"/>
                <a:gd name="T9" fmla="*/ 1601 h 1603"/>
                <a:gd name="T10" fmla="*/ 182 w 1398"/>
                <a:gd name="T11" fmla="*/ 1599 h 1603"/>
                <a:gd name="T12" fmla="*/ 183 w 1398"/>
                <a:gd name="T13" fmla="*/ 1540 h 1603"/>
                <a:gd name="T14" fmla="*/ 390 w 1398"/>
                <a:gd name="T15" fmla="*/ 577 h 1603"/>
                <a:gd name="T16" fmla="*/ 166 w 1398"/>
                <a:gd name="T17" fmla="*/ 639 h 1603"/>
                <a:gd name="T18" fmla="*/ 104 w 1398"/>
                <a:gd name="T19" fmla="*/ 639 h 1603"/>
                <a:gd name="T20" fmla="*/ 63 w 1398"/>
                <a:gd name="T21" fmla="*/ 579 h 1603"/>
                <a:gd name="T22" fmla="*/ 34 w 1398"/>
                <a:gd name="T23" fmla="*/ 677 h 1603"/>
                <a:gd name="T24" fmla="*/ 1 w 1398"/>
                <a:gd name="T25" fmla="*/ 548 h 1603"/>
                <a:gd name="T26" fmla="*/ 89 w 1398"/>
                <a:gd name="T27" fmla="*/ 513 h 1603"/>
                <a:gd name="T28" fmla="*/ 398 w 1398"/>
                <a:gd name="T29" fmla="*/ 511 h 1603"/>
                <a:gd name="T30" fmla="*/ 319 w 1398"/>
                <a:gd name="T31" fmla="*/ 67 h 1603"/>
                <a:gd name="T32" fmla="*/ 289 w 1398"/>
                <a:gd name="T33" fmla="*/ 165 h 1603"/>
                <a:gd name="T34" fmla="*/ 257 w 1398"/>
                <a:gd name="T35" fmla="*/ 67 h 1603"/>
                <a:gd name="T36" fmla="*/ 217 w 1398"/>
                <a:gd name="T37" fmla="*/ 127 h 1603"/>
                <a:gd name="T38" fmla="*/ 155 w 1398"/>
                <a:gd name="T39" fmla="*/ 127 h 1603"/>
                <a:gd name="T40" fmla="*/ 194 w 1398"/>
                <a:gd name="T41" fmla="*/ 1 h 1603"/>
                <a:gd name="T42" fmla="*/ 1177 w 1398"/>
                <a:gd name="T43" fmla="*/ 1 h 1603"/>
                <a:gd name="T44" fmla="*/ 1242 w 1398"/>
                <a:gd name="T45" fmla="*/ 41 h 1603"/>
                <a:gd name="T46" fmla="*/ 1211 w 1398"/>
                <a:gd name="T47" fmla="*/ 165 h 1603"/>
                <a:gd name="T48" fmla="*/ 1180 w 1398"/>
                <a:gd name="T49" fmla="*/ 67 h 1603"/>
                <a:gd name="T50" fmla="*/ 1141 w 1398"/>
                <a:gd name="T51" fmla="*/ 111 h 1603"/>
                <a:gd name="T52" fmla="*/ 1107 w 1398"/>
                <a:gd name="T53" fmla="*/ 164 h 1603"/>
                <a:gd name="T54" fmla="*/ 1079 w 1398"/>
                <a:gd name="T55" fmla="*/ 67 h 1603"/>
                <a:gd name="T56" fmla="*/ 999 w 1398"/>
                <a:gd name="T57" fmla="*/ 513 h 1603"/>
                <a:gd name="T58" fmla="*/ 1340 w 1398"/>
                <a:gd name="T59" fmla="*/ 513 h 1603"/>
                <a:gd name="T60" fmla="*/ 1397 w 1398"/>
                <a:gd name="T61" fmla="*/ 628 h 1603"/>
                <a:gd name="T62" fmla="*/ 1362 w 1398"/>
                <a:gd name="T63" fmla="*/ 677 h 1603"/>
                <a:gd name="T64" fmla="*/ 1334 w 1398"/>
                <a:gd name="T65" fmla="*/ 616 h 1603"/>
                <a:gd name="T66" fmla="*/ 1293 w 1398"/>
                <a:gd name="T67" fmla="*/ 576 h 1603"/>
                <a:gd name="T68" fmla="*/ 1255 w 1398"/>
                <a:gd name="T69" fmla="*/ 676 h 1603"/>
                <a:gd name="T70" fmla="*/ 1232 w 1398"/>
                <a:gd name="T71" fmla="*/ 579 h 1603"/>
                <a:gd name="T72" fmla="*/ 1136 w 1398"/>
                <a:gd name="T73" fmla="*/ 1538 h 1603"/>
                <a:gd name="T74" fmla="*/ 1218 w 1398"/>
                <a:gd name="T75" fmla="*/ 1542 h 1603"/>
                <a:gd name="T76" fmla="*/ 1218 w 1398"/>
                <a:gd name="T77" fmla="*/ 1599 h 1603"/>
                <a:gd name="T78" fmla="*/ 1010 w 1398"/>
                <a:gd name="T79" fmla="*/ 1601 h 1603"/>
                <a:gd name="T80" fmla="*/ 1011 w 1398"/>
                <a:gd name="T81" fmla="*/ 1539 h 1603"/>
                <a:gd name="T82" fmla="*/ 452 w 1398"/>
                <a:gd name="T83" fmla="*/ 581 h 1603"/>
                <a:gd name="T84" fmla="*/ 928 w 1398"/>
                <a:gd name="T85" fmla="*/ 754 h 1603"/>
                <a:gd name="T86" fmla="*/ 974 w 1398"/>
                <a:gd name="T87" fmla="*/ 800 h 1603"/>
                <a:gd name="T88" fmla="*/ 699 w 1398"/>
                <a:gd name="T89" fmla="*/ 1187 h 1603"/>
                <a:gd name="T90" fmla="*/ 974 w 1398"/>
                <a:gd name="T91" fmla="*/ 800 h 1603"/>
                <a:gd name="T92" fmla="*/ 519 w 1398"/>
                <a:gd name="T93" fmla="*/ 80 h 1603"/>
                <a:gd name="T94" fmla="*/ 842 w 1398"/>
                <a:gd name="T95" fmla="*/ 241 h 1603"/>
                <a:gd name="T96" fmla="*/ 558 w 1398"/>
                <a:gd name="T97" fmla="*/ 505 h 1603"/>
                <a:gd name="T98" fmla="*/ 936 w 1398"/>
                <a:gd name="T99" fmla="*/ 510 h 1603"/>
                <a:gd name="T100" fmla="*/ 633 w 1398"/>
                <a:gd name="T101" fmla="*/ 1223 h 1603"/>
                <a:gd name="T102" fmla="*/ 346 w 1398"/>
                <a:gd name="T103" fmla="*/ 1378 h 1603"/>
                <a:gd name="T104" fmla="*/ 1013 w 1398"/>
                <a:gd name="T105" fmla="*/ 1089 h 1603"/>
                <a:gd name="T106" fmla="*/ 1052 w 1398"/>
                <a:gd name="T107" fmla="*/ 1378 h 1603"/>
                <a:gd name="T108" fmla="*/ 961 w 1398"/>
                <a:gd name="T109" fmla="*/ 700 h 1603"/>
                <a:gd name="T110" fmla="*/ 644 w 1398"/>
                <a:gd name="T111" fmla="*/ 579 h 1603"/>
                <a:gd name="T112" fmla="*/ 961 w 1398"/>
                <a:gd name="T113" fmla="*/ 700 h 1603"/>
                <a:gd name="T114" fmla="*/ 643 w 1398"/>
                <a:gd name="T115" fmla="*/ 72 h 1603"/>
                <a:gd name="T116" fmla="*/ 876 w 1398"/>
                <a:gd name="T117" fmla="*/ 66 h 1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8" h="1603">
                  <a:moveTo>
                    <a:pt x="1073" y="1536"/>
                  </a:moveTo>
                  <a:cubicBezTo>
                    <a:pt x="1069" y="1505"/>
                    <a:pt x="1065" y="1479"/>
                    <a:pt x="1062" y="1453"/>
                  </a:cubicBezTo>
                  <a:cubicBezTo>
                    <a:pt x="941" y="1388"/>
                    <a:pt x="821" y="1324"/>
                    <a:pt x="699" y="1258"/>
                  </a:cubicBezTo>
                  <a:cubicBezTo>
                    <a:pt x="580" y="1322"/>
                    <a:pt x="459" y="1387"/>
                    <a:pt x="336" y="1453"/>
                  </a:cubicBezTo>
                  <a:cubicBezTo>
                    <a:pt x="333" y="1478"/>
                    <a:pt x="329" y="1505"/>
                    <a:pt x="324" y="1538"/>
                  </a:cubicBezTo>
                  <a:cubicBezTo>
                    <a:pt x="340" y="1538"/>
                    <a:pt x="353" y="1538"/>
                    <a:pt x="366" y="1538"/>
                  </a:cubicBezTo>
                  <a:cubicBezTo>
                    <a:pt x="378" y="1539"/>
                    <a:pt x="391" y="1537"/>
                    <a:pt x="400" y="1542"/>
                  </a:cubicBezTo>
                  <a:cubicBezTo>
                    <a:pt x="410" y="1548"/>
                    <a:pt x="420" y="1561"/>
                    <a:pt x="420" y="1570"/>
                  </a:cubicBezTo>
                  <a:cubicBezTo>
                    <a:pt x="420" y="1580"/>
                    <a:pt x="409" y="1592"/>
                    <a:pt x="399" y="1597"/>
                  </a:cubicBezTo>
                  <a:cubicBezTo>
                    <a:pt x="390" y="1603"/>
                    <a:pt x="377" y="1601"/>
                    <a:pt x="366" y="1601"/>
                  </a:cubicBezTo>
                  <a:cubicBezTo>
                    <a:pt x="315" y="1602"/>
                    <a:pt x="264" y="1601"/>
                    <a:pt x="213" y="1601"/>
                  </a:cubicBezTo>
                  <a:cubicBezTo>
                    <a:pt x="203" y="1601"/>
                    <a:pt x="193" y="1601"/>
                    <a:pt x="182" y="1599"/>
                  </a:cubicBezTo>
                  <a:cubicBezTo>
                    <a:pt x="167" y="1597"/>
                    <a:pt x="158" y="1587"/>
                    <a:pt x="157" y="1571"/>
                  </a:cubicBezTo>
                  <a:cubicBezTo>
                    <a:pt x="157" y="1553"/>
                    <a:pt x="166" y="1542"/>
                    <a:pt x="183" y="1540"/>
                  </a:cubicBezTo>
                  <a:cubicBezTo>
                    <a:pt x="208" y="1538"/>
                    <a:pt x="233" y="1538"/>
                    <a:pt x="262" y="1536"/>
                  </a:cubicBezTo>
                  <a:cubicBezTo>
                    <a:pt x="304" y="1218"/>
                    <a:pt x="347" y="901"/>
                    <a:pt x="390" y="577"/>
                  </a:cubicBezTo>
                  <a:cubicBezTo>
                    <a:pt x="315" y="576"/>
                    <a:pt x="243" y="577"/>
                    <a:pt x="166" y="577"/>
                  </a:cubicBezTo>
                  <a:cubicBezTo>
                    <a:pt x="166" y="599"/>
                    <a:pt x="166" y="619"/>
                    <a:pt x="166" y="639"/>
                  </a:cubicBezTo>
                  <a:cubicBezTo>
                    <a:pt x="165" y="664"/>
                    <a:pt x="154" y="677"/>
                    <a:pt x="135" y="677"/>
                  </a:cubicBezTo>
                  <a:cubicBezTo>
                    <a:pt x="116" y="677"/>
                    <a:pt x="105" y="664"/>
                    <a:pt x="104" y="639"/>
                  </a:cubicBezTo>
                  <a:cubicBezTo>
                    <a:pt x="104" y="620"/>
                    <a:pt x="104" y="600"/>
                    <a:pt x="104" y="579"/>
                  </a:cubicBezTo>
                  <a:cubicBezTo>
                    <a:pt x="90" y="579"/>
                    <a:pt x="79" y="579"/>
                    <a:pt x="63" y="579"/>
                  </a:cubicBezTo>
                  <a:cubicBezTo>
                    <a:pt x="63" y="600"/>
                    <a:pt x="64" y="620"/>
                    <a:pt x="63" y="641"/>
                  </a:cubicBezTo>
                  <a:cubicBezTo>
                    <a:pt x="62" y="665"/>
                    <a:pt x="53" y="676"/>
                    <a:pt x="34" y="677"/>
                  </a:cubicBezTo>
                  <a:cubicBezTo>
                    <a:pt x="16" y="678"/>
                    <a:pt x="3" y="667"/>
                    <a:pt x="2" y="645"/>
                  </a:cubicBezTo>
                  <a:cubicBezTo>
                    <a:pt x="0" y="613"/>
                    <a:pt x="0" y="580"/>
                    <a:pt x="1" y="548"/>
                  </a:cubicBezTo>
                  <a:cubicBezTo>
                    <a:pt x="2" y="527"/>
                    <a:pt x="15" y="514"/>
                    <a:pt x="37" y="514"/>
                  </a:cubicBezTo>
                  <a:cubicBezTo>
                    <a:pt x="55" y="513"/>
                    <a:pt x="72" y="513"/>
                    <a:pt x="89" y="513"/>
                  </a:cubicBezTo>
                  <a:cubicBezTo>
                    <a:pt x="179" y="513"/>
                    <a:pt x="269" y="513"/>
                    <a:pt x="359" y="513"/>
                  </a:cubicBezTo>
                  <a:cubicBezTo>
                    <a:pt x="372" y="513"/>
                    <a:pt x="384" y="512"/>
                    <a:pt x="398" y="511"/>
                  </a:cubicBezTo>
                  <a:cubicBezTo>
                    <a:pt x="418" y="363"/>
                    <a:pt x="438" y="217"/>
                    <a:pt x="458" y="67"/>
                  </a:cubicBezTo>
                  <a:cubicBezTo>
                    <a:pt x="412" y="67"/>
                    <a:pt x="368" y="67"/>
                    <a:pt x="319" y="67"/>
                  </a:cubicBezTo>
                  <a:cubicBezTo>
                    <a:pt x="319" y="89"/>
                    <a:pt x="320" y="109"/>
                    <a:pt x="319" y="130"/>
                  </a:cubicBezTo>
                  <a:cubicBezTo>
                    <a:pt x="318" y="153"/>
                    <a:pt x="308" y="164"/>
                    <a:pt x="289" y="165"/>
                  </a:cubicBezTo>
                  <a:cubicBezTo>
                    <a:pt x="272" y="165"/>
                    <a:pt x="259" y="154"/>
                    <a:pt x="257" y="131"/>
                  </a:cubicBezTo>
                  <a:cubicBezTo>
                    <a:pt x="256" y="111"/>
                    <a:pt x="257" y="90"/>
                    <a:pt x="257" y="67"/>
                  </a:cubicBezTo>
                  <a:cubicBezTo>
                    <a:pt x="243" y="67"/>
                    <a:pt x="233" y="67"/>
                    <a:pt x="218" y="67"/>
                  </a:cubicBezTo>
                  <a:cubicBezTo>
                    <a:pt x="218" y="88"/>
                    <a:pt x="219" y="107"/>
                    <a:pt x="217" y="127"/>
                  </a:cubicBezTo>
                  <a:cubicBezTo>
                    <a:pt x="216" y="153"/>
                    <a:pt x="205" y="165"/>
                    <a:pt x="186" y="165"/>
                  </a:cubicBezTo>
                  <a:cubicBezTo>
                    <a:pt x="167" y="165"/>
                    <a:pt x="156" y="153"/>
                    <a:pt x="155" y="127"/>
                  </a:cubicBezTo>
                  <a:cubicBezTo>
                    <a:pt x="154" y="98"/>
                    <a:pt x="154" y="69"/>
                    <a:pt x="155" y="40"/>
                  </a:cubicBezTo>
                  <a:cubicBezTo>
                    <a:pt x="157" y="12"/>
                    <a:pt x="166" y="4"/>
                    <a:pt x="194" y="1"/>
                  </a:cubicBezTo>
                  <a:cubicBezTo>
                    <a:pt x="203" y="0"/>
                    <a:pt x="212" y="1"/>
                    <a:pt x="221" y="1"/>
                  </a:cubicBezTo>
                  <a:cubicBezTo>
                    <a:pt x="540" y="1"/>
                    <a:pt x="858" y="1"/>
                    <a:pt x="1177" y="1"/>
                  </a:cubicBezTo>
                  <a:cubicBezTo>
                    <a:pt x="1186" y="1"/>
                    <a:pt x="1195" y="0"/>
                    <a:pt x="1204" y="1"/>
                  </a:cubicBezTo>
                  <a:cubicBezTo>
                    <a:pt x="1232" y="4"/>
                    <a:pt x="1241" y="13"/>
                    <a:pt x="1242" y="41"/>
                  </a:cubicBezTo>
                  <a:cubicBezTo>
                    <a:pt x="1244" y="69"/>
                    <a:pt x="1244" y="98"/>
                    <a:pt x="1242" y="127"/>
                  </a:cubicBezTo>
                  <a:cubicBezTo>
                    <a:pt x="1241" y="153"/>
                    <a:pt x="1230" y="165"/>
                    <a:pt x="1211" y="165"/>
                  </a:cubicBezTo>
                  <a:cubicBezTo>
                    <a:pt x="1192" y="164"/>
                    <a:pt x="1181" y="152"/>
                    <a:pt x="1180" y="126"/>
                  </a:cubicBezTo>
                  <a:cubicBezTo>
                    <a:pt x="1179" y="108"/>
                    <a:pt x="1180" y="89"/>
                    <a:pt x="1180" y="67"/>
                  </a:cubicBezTo>
                  <a:cubicBezTo>
                    <a:pt x="1167" y="66"/>
                    <a:pt x="1156" y="65"/>
                    <a:pt x="1141" y="64"/>
                  </a:cubicBezTo>
                  <a:cubicBezTo>
                    <a:pt x="1141" y="82"/>
                    <a:pt x="1141" y="96"/>
                    <a:pt x="1141" y="111"/>
                  </a:cubicBezTo>
                  <a:cubicBezTo>
                    <a:pt x="1141" y="121"/>
                    <a:pt x="1140" y="132"/>
                    <a:pt x="1137" y="142"/>
                  </a:cubicBezTo>
                  <a:cubicBezTo>
                    <a:pt x="1134" y="157"/>
                    <a:pt x="1123" y="165"/>
                    <a:pt x="1107" y="164"/>
                  </a:cubicBezTo>
                  <a:cubicBezTo>
                    <a:pt x="1090" y="163"/>
                    <a:pt x="1080" y="153"/>
                    <a:pt x="1079" y="136"/>
                  </a:cubicBezTo>
                  <a:cubicBezTo>
                    <a:pt x="1078" y="114"/>
                    <a:pt x="1079" y="92"/>
                    <a:pt x="1079" y="67"/>
                  </a:cubicBezTo>
                  <a:cubicBezTo>
                    <a:pt x="1032" y="67"/>
                    <a:pt x="988" y="67"/>
                    <a:pt x="940" y="67"/>
                  </a:cubicBezTo>
                  <a:cubicBezTo>
                    <a:pt x="959" y="216"/>
                    <a:pt x="979" y="362"/>
                    <a:pt x="999" y="513"/>
                  </a:cubicBezTo>
                  <a:cubicBezTo>
                    <a:pt x="1014" y="513"/>
                    <a:pt x="1026" y="513"/>
                    <a:pt x="1039" y="513"/>
                  </a:cubicBezTo>
                  <a:cubicBezTo>
                    <a:pt x="1139" y="513"/>
                    <a:pt x="1239" y="513"/>
                    <a:pt x="1340" y="513"/>
                  </a:cubicBezTo>
                  <a:cubicBezTo>
                    <a:pt x="1388" y="513"/>
                    <a:pt x="1397" y="522"/>
                    <a:pt x="1397" y="569"/>
                  </a:cubicBezTo>
                  <a:cubicBezTo>
                    <a:pt x="1397" y="589"/>
                    <a:pt x="1398" y="609"/>
                    <a:pt x="1397" y="628"/>
                  </a:cubicBezTo>
                  <a:cubicBezTo>
                    <a:pt x="1397" y="637"/>
                    <a:pt x="1396" y="647"/>
                    <a:pt x="1393" y="655"/>
                  </a:cubicBezTo>
                  <a:cubicBezTo>
                    <a:pt x="1389" y="671"/>
                    <a:pt x="1378" y="678"/>
                    <a:pt x="1362" y="677"/>
                  </a:cubicBezTo>
                  <a:cubicBezTo>
                    <a:pt x="1346" y="675"/>
                    <a:pt x="1337" y="666"/>
                    <a:pt x="1335" y="650"/>
                  </a:cubicBezTo>
                  <a:cubicBezTo>
                    <a:pt x="1334" y="639"/>
                    <a:pt x="1335" y="627"/>
                    <a:pt x="1334" y="616"/>
                  </a:cubicBezTo>
                  <a:cubicBezTo>
                    <a:pt x="1334" y="605"/>
                    <a:pt x="1334" y="593"/>
                    <a:pt x="1334" y="579"/>
                  </a:cubicBezTo>
                  <a:cubicBezTo>
                    <a:pt x="1320" y="578"/>
                    <a:pt x="1309" y="577"/>
                    <a:pt x="1293" y="576"/>
                  </a:cubicBezTo>
                  <a:cubicBezTo>
                    <a:pt x="1293" y="600"/>
                    <a:pt x="1294" y="622"/>
                    <a:pt x="1293" y="643"/>
                  </a:cubicBezTo>
                  <a:cubicBezTo>
                    <a:pt x="1291" y="669"/>
                    <a:pt x="1275" y="682"/>
                    <a:pt x="1255" y="676"/>
                  </a:cubicBezTo>
                  <a:cubicBezTo>
                    <a:pt x="1238" y="672"/>
                    <a:pt x="1232" y="659"/>
                    <a:pt x="1232" y="642"/>
                  </a:cubicBezTo>
                  <a:cubicBezTo>
                    <a:pt x="1232" y="622"/>
                    <a:pt x="1232" y="601"/>
                    <a:pt x="1232" y="579"/>
                  </a:cubicBezTo>
                  <a:cubicBezTo>
                    <a:pt x="1157" y="579"/>
                    <a:pt x="1085" y="579"/>
                    <a:pt x="1008" y="579"/>
                  </a:cubicBezTo>
                  <a:cubicBezTo>
                    <a:pt x="1051" y="899"/>
                    <a:pt x="1093" y="1216"/>
                    <a:pt x="1136" y="1538"/>
                  </a:cubicBezTo>
                  <a:cubicBezTo>
                    <a:pt x="1152" y="1538"/>
                    <a:pt x="1166" y="1538"/>
                    <a:pt x="1181" y="1538"/>
                  </a:cubicBezTo>
                  <a:cubicBezTo>
                    <a:pt x="1193" y="1539"/>
                    <a:pt x="1207" y="1537"/>
                    <a:pt x="1218" y="1542"/>
                  </a:cubicBezTo>
                  <a:cubicBezTo>
                    <a:pt x="1228" y="1547"/>
                    <a:pt x="1237" y="1558"/>
                    <a:pt x="1240" y="1569"/>
                  </a:cubicBezTo>
                  <a:cubicBezTo>
                    <a:pt x="1243" y="1584"/>
                    <a:pt x="1234" y="1595"/>
                    <a:pt x="1218" y="1599"/>
                  </a:cubicBezTo>
                  <a:cubicBezTo>
                    <a:pt x="1214" y="1599"/>
                    <a:pt x="1211" y="1601"/>
                    <a:pt x="1208" y="1601"/>
                  </a:cubicBezTo>
                  <a:cubicBezTo>
                    <a:pt x="1142" y="1601"/>
                    <a:pt x="1076" y="1602"/>
                    <a:pt x="1010" y="1601"/>
                  </a:cubicBezTo>
                  <a:cubicBezTo>
                    <a:pt x="988" y="1600"/>
                    <a:pt x="976" y="1587"/>
                    <a:pt x="976" y="1569"/>
                  </a:cubicBezTo>
                  <a:cubicBezTo>
                    <a:pt x="976" y="1552"/>
                    <a:pt x="988" y="1541"/>
                    <a:pt x="1011" y="1539"/>
                  </a:cubicBezTo>
                  <a:cubicBezTo>
                    <a:pt x="1031" y="1537"/>
                    <a:pt x="1051" y="1537"/>
                    <a:pt x="1073" y="1536"/>
                  </a:cubicBezTo>
                  <a:close/>
                  <a:moveTo>
                    <a:pt x="452" y="581"/>
                  </a:moveTo>
                  <a:cubicBezTo>
                    <a:pt x="432" y="731"/>
                    <a:pt x="413" y="874"/>
                    <a:pt x="393" y="1022"/>
                  </a:cubicBezTo>
                  <a:cubicBezTo>
                    <a:pt x="574" y="932"/>
                    <a:pt x="748" y="845"/>
                    <a:pt x="928" y="754"/>
                  </a:cubicBezTo>
                  <a:cubicBezTo>
                    <a:pt x="766" y="695"/>
                    <a:pt x="611" y="639"/>
                    <a:pt x="452" y="581"/>
                  </a:cubicBezTo>
                  <a:close/>
                  <a:moveTo>
                    <a:pt x="974" y="800"/>
                  </a:moveTo>
                  <a:cubicBezTo>
                    <a:pt x="802" y="887"/>
                    <a:pt x="633" y="971"/>
                    <a:pt x="459" y="1058"/>
                  </a:cubicBezTo>
                  <a:cubicBezTo>
                    <a:pt x="543" y="1103"/>
                    <a:pt x="621" y="1145"/>
                    <a:pt x="699" y="1187"/>
                  </a:cubicBezTo>
                  <a:cubicBezTo>
                    <a:pt x="801" y="1132"/>
                    <a:pt x="902" y="1078"/>
                    <a:pt x="1005" y="1023"/>
                  </a:cubicBezTo>
                  <a:cubicBezTo>
                    <a:pt x="995" y="949"/>
                    <a:pt x="985" y="876"/>
                    <a:pt x="974" y="800"/>
                  </a:cubicBezTo>
                  <a:close/>
                  <a:moveTo>
                    <a:pt x="842" y="241"/>
                  </a:moveTo>
                  <a:cubicBezTo>
                    <a:pt x="732" y="186"/>
                    <a:pt x="627" y="134"/>
                    <a:pt x="519" y="80"/>
                  </a:cubicBezTo>
                  <a:cubicBezTo>
                    <a:pt x="500" y="218"/>
                    <a:pt x="482" y="352"/>
                    <a:pt x="464" y="494"/>
                  </a:cubicBezTo>
                  <a:cubicBezTo>
                    <a:pt x="593" y="407"/>
                    <a:pt x="715" y="326"/>
                    <a:pt x="842" y="241"/>
                  </a:cubicBezTo>
                  <a:close/>
                  <a:moveTo>
                    <a:pt x="904" y="274"/>
                  </a:moveTo>
                  <a:cubicBezTo>
                    <a:pt x="786" y="353"/>
                    <a:pt x="672" y="429"/>
                    <a:pt x="558" y="505"/>
                  </a:cubicBezTo>
                  <a:cubicBezTo>
                    <a:pt x="559" y="507"/>
                    <a:pt x="559" y="509"/>
                    <a:pt x="560" y="510"/>
                  </a:cubicBezTo>
                  <a:cubicBezTo>
                    <a:pt x="684" y="510"/>
                    <a:pt x="809" y="510"/>
                    <a:pt x="936" y="510"/>
                  </a:cubicBezTo>
                  <a:cubicBezTo>
                    <a:pt x="925" y="431"/>
                    <a:pt x="915" y="355"/>
                    <a:pt x="904" y="274"/>
                  </a:cubicBezTo>
                  <a:close/>
                  <a:moveTo>
                    <a:pt x="633" y="1223"/>
                  </a:moveTo>
                  <a:cubicBezTo>
                    <a:pt x="547" y="1177"/>
                    <a:pt x="468" y="1134"/>
                    <a:pt x="384" y="1089"/>
                  </a:cubicBezTo>
                  <a:cubicBezTo>
                    <a:pt x="371" y="1187"/>
                    <a:pt x="359" y="1280"/>
                    <a:pt x="346" y="1378"/>
                  </a:cubicBezTo>
                  <a:cubicBezTo>
                    <a:pt x="443" y="1325"/>
                    <a:pt x="535" y="1276"/>
                    <a:pt x="633" y="1223"/>
                  </a:cubicBezTo>
                  <a:close/>
                  <a:moveTo>
                    <a:pt x="1013" y="1089"/>
                  </a:moveTo>
                  <a:cubicBezTo>
                    <a:pt x="929" y="1134"/>
                    <a:pt x="850" y="1177"/>
                    <a:pt x="764" y="1223"/>
                  </a:cubicBezTo>
                  <a:cubicBezTo>
                    <a:pt x="862" y="1275"/>
                    <a:pt x="955" y="1325"/>
                    <a:pt x="1052" y="1378"/>
                  </a:cubicBezTo>
                  <a:cubicBezTo>
                    <a:pt x="1039" y="1280"/>
                    <a:pt x="1026" y="1187"/>
                    <a:pt x="1013" y="1089"/>
                  </a:cubicBezTo>
                  <a:close/>
                  <a:moveTo>
                    <a:pt x="961" y="700"/>
                  </a:moveTo>
                  <a:cubicBezTo>
                    <a:pt x="955" y="656"/>
                    <a:pt x="950" y="618"/>
                    <a:pt x="945" y="579"/>
                  </a:cubicBezTo>
                  <a:cubicBezTo>
                    <a:pt x="843" y="579"/>
                    <a:pt x="744" y="579"/>
                    <a:pt x="644" y="579"/>
                  </a:cubicBezTo>
                  <a:cubicBezTo>
                    <a:pt x="644" y="581"/>
                    <a:pt x="643" y="583"/>
                    <a:pt x="643" y="585"/>
                  </a:cubicBezTo>
                  <a:cubicBezTo>
                    <a:pt x="747" y="623"/>
                    <a:pt x="852" y="660"/>
                    <a:pt x="961" y="700"/>
                  </a:cubicBezTo>
                  <a:close/>
                  <a:moveTo>
                    <a:pt x="644" y="66"/>
                  </a:moveTo>
                  <a:cubicBezTo>
                    <a:pt x="644" y="68"/>
                    <a:pt x="643" y="70"/>
                    <a:pt x="643" y="72"/>
                  </a:cubicBezTo>
                  <a:cubicBezTo>
                    <a:pt x="725" y="113"/>
                    <a:pt x="807" y="154"/>
                    <a:pt x="895" y="198"/>
                  </a:cubicBezTo>
                  <a:cubicBezTo>
                    <a:pt x="888" y="149"/>
                    <a:pt x="882" y="109"/>
                    <a:pt x="876" y="66"/>
                  </a:cubicBezTo>
                  <a:cubicBezTo>
                    <a:pt x="798" y="66"/>
                    <a:pt x="721" y="66"/>
                    <a:pt x="644" y="66"/>
                  </a:cubicBez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4178F73-F5B9-4B63-B5BA-FF1A371F72B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470649" y="1234227"/>
              <a:ext cx="290712" cy="334728"/>
              <a:chOff x="4159250" y="1323975"/>
              <a:chExt cx="450850" cy="519113"/>
            </a:xfrm>
          </p:grpSpPr>
          <p:sp>
            <p:nvSpPr>
              <p:cNvPr id="27" name="Freeform 34">
                <a:extLst>
                  <a:ext uri="{FF2B5EF4-FFF2-40B4-BE49-F238E27FC236}">
                    <a16:creationId xmlns:a16="http://schemas.microsoft.com/office/drawing/2014/main" id="{1D543B63-0AAF-4537-AA41-4B2F407E45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59250" y="1411288"/>
                <a:ext cx="450850" cy="431800"/>
              </a:xfrm>
              <a:custGeom>
                <a:avLst/>
                <a:gdLst>
                  <a:gd name="T0" fmla="*/ 105 w 1375"/>
                  <a:gd name="T1" fmla="*/ 1108 h 1319"/>
                  <a:gd name="T2" fmla="*/ 113 w 1375"/>
                  <a:gd name="T3" fmla="*/ 1012 h 1319"/>
                  <a:gd name="T4" fmla="*/ 135 w 1375"/>
                  <a:gd name="T5" fmla="*/ 886 h 1319"/>
                  <a:gd name="T6" fmla="*/ 206 w 1375"/>
                  <a:gd name="T7" fmla="*/ 645 h 1319"/>
                  <a:gd name="T8" fmla="*/ 314 w 1375"/>
                  <a:gd name="T9" fmla="*/ 284 h 1319"/>
                  <a:gd name="T10" fmla="*/ 343 w 1375"/>
                  <a:gd name="T11" fmla="*/ 97 h 1319"/>
                  <a:gd name="T12" fmla="*/ 348 w 1375"/>
                  <a:gd name="T13" fmla="*/ 20 h 1319"/>
                  <a:gd name="T14" fmla="*/ 367 w 1375"/>
                  <a:gd name="T15" fmla="*/ 0 h 1319"/>
                  <a:gd name="T16" fmla="*/ 389 w 1375"/>
                  <a:gd name="T17" fmla="*/ 0 h 1319"/>
                  <a:gd name="T18" fmla="*/ 989 w 1375"/>
                  <a:gd name="T19" fmla="*/ 0 h 1319"/>
                  <a:gd name="T20" fmla="*/ 1033 w 1375"/>
                  <a:gd name="T21" fmla="*/ 44 h 1319"/>
                  <a:gd name="T22" fmla="*/ 1034 w 1375"/>
                  <a:gd name="T23" fmla="*/ 109 h 1319"/>
                  <a:gd name="T24" fmla="*/ 1071 w 1375"/>
                  <a:gd name="T25" fmla="*/ 307 h 1319"/>
                  <a:gd name="T26" fmla="*/ 1183 w 1375"/>
                  <a:gd name="T27" fmla="*/ 683 h 1319"/>
                  <a:gd name="T28" fmla="*/ 1247 w 1375"/>
                  <a:gd name="T29" fmla="*/ 903 h 1319"/>
                  <a:gd name="T30" fmla="*/ 1263 w 1375"/>
                  <a:gd name="T31" fmla="*/ 1000 h 1319"/>
                  <a:gd name="T32" fmla="*/ 1272 w 1375"/>
                  <a:gd name="T33" fmla="*/ 1107 h 1319"/>
                  <a:gd name="T34" fmla="*/ 1338 w 1375"/>
                  <a:gd name="T35" fmla="*/ 1107 h 1319"/>
                  <a:gd name="T36" fmla="*/ 1375 w 1375"/>
                  <a:gd name="T37" fmla="*/ 1143 h 1319"/>
                  <a:gd name="T38" fmla="*/ 1375 w 1375"/>
                  <a:gd name="T39" fmla="*/ 1283 h 1319"/>
                  <a:gd name="T40" fmla="*/ 1338 w 1375"/>
                  <a:gd name="T41" fmla="*/ 1318 h 1319"/>
                  <a:gd name="T42" fmla="*/ 1001 w 1375"/>
                  <a:gd name="T43" fmla="*/ 1318 h 1319"/>
                  <a:gd name="T44" fmla="*/ 54 w 1375"/>
                  <a:gd name="T45" fmla="*/ 1319 h 1319"/>
                  <a:gd name="T46" fmla="*/ 2 w 1375"/>
                  <a:gd name="T47" fmla="*/ 1265 h 1319"/>
                  <a:gd name="T48" fmla="*/ 2 w 1375"/>
                  <a:gd name="T49" fmla="*/ 1154 h 1319"/>
                  <a:gd name="T50" fmla="*/ 2 w 1375"/>
                  <a:gd name="T51" fmla="*/ 1135 h 1319"/>
                  <a:gd name="T52" fmla="*/ 32 w 1375"/>
                  <a:gd name="T53" fmla="*/ 1108 h 1319"/>
                  <a:gd name="T54" fmla="*/ 105 w 1375"/>
                  <a:gd name="T55" fmla="*/ 1108 h 1319"/>
                  <a:gd name="T56" fmla="*/ 400 w 1375"/>
                  <a:gd name="T57" fmla="*/ 52 h 1319"/>
                  <a:gd name="T58" fmla="*/ 391 w 1375"/>
                  <a:gd name="T59" fmla="*/ 165 h 1319"/>
                  <a:gd name="T60" fmla="*/ 372 w 1375"/>
                  <a:gd name="T61" fmla="*/ 268 h 1319"/>
                  <a:gd name="T62" fmla="*/ 336 w 1375"/>
                  <a:gd name="T63" fmla="*/ 391 h 1319"/>
                  <a:gd name="T64" fmla="*/ 220 w 1375"/>
                  <a:gd name="T65" fmla="*/ 781 h 1319"/>
                  <a:gd name="T66" fmla="*/ 179 w 1375"/>
                  <a:gd name="T67" fmla="*/ 932 h 1319"/>
                  <a:gd name="T68" fmla="*/ 163 w 1375"/>
                  <a:gd name="T69" fmla="*/ 1041 h 1319"/>
                  <a:gd name="T70" fmla="*/ 165 w 1375"/>
                  <a:gd name="T71" fmla="*/ 1107 h 1319"/>
                  <a:gd name="T72" fmla="*/ 1214 w 1375"/>
                  <a:gd name="T73" fmla="*/ 1104 h 1319"/>
                  <a:gd name="T74" fmla="*/ 1198 w 1375"/>
                  <a:gd name="T75" fmla="*/ 927 h 1319"/>
                  <a:gd name="T76" fmla="*/ 1152 w 1375"/>
                  <a:gd name="T77" fmla="*/ 765 h 1319"/>
                  <a:gd name="T78" fmla="*/ 1022 w 1375"/>
                  <a:gd name="T79" fmla="*/ 331 h 1319"/>
                  <a:gd name="T80" fmla="*/ 979 w 1375"/>
                  <a:gd name="T81" fmla="*/ 69 h 1319"/>
                  <a:gd name="T82" fmla="*/ 977 w 1375"/>
                  <a:gd name="T83" fmla="*/ 52 h 1319"/>
                  <a:gd name="T84" fmla="*/ 400 w 1375"/>
                  <a:gd name="T85" fmla="*/ 52 h 1319"/>
                  <a:gd name="T86" fmla="*/ 1319 w 1375"/>
                  <a:gd name="T87" fmla="*/ 1160 h 1319"/>
                  <a:gd name="T88" fmla="*/ 58 w 1375"/>
                  <a:gd name="T89" fmla="*/ 1160 h 1319"/>
                  <a:gd name="T90" fmla="*/ 58 w 1375"/>
                  <a:gd name="T91" fmla="*/ 1264 h 1319"/>
                  <a:gd name="T92" fmla="*/ 84 w 1375"/>
                  <a:gd name="T93" fmla="*/ 1264 h 1319"/>
                  <a:gd name="T94" fmla="*/ 1315 w 1375"/>
                  <a:gd name="T95" fmla="*/ 1263 h 1319"/>
                  <a:gd name="T96" fmla="*/ 1317 w 1375"/>
                  <a:gd name="T97" fmla="*/ 1262 h 1319"/>
                  <a:gd name="T98" fmla="*/ 1319 w 1375"/>
                  <a:gd name="T99" fmla="*/ 1259 h 1319"/>
                  <a:gd name="T100" fmla="*/ 1319 w 1375"/>
                  <a:gd name="T101" fmla="*/ 1160 h 1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375" h="1319">
                    <a:moveTo>
                      <a:pt x="105" y="1108"/>
                    </a:moveTo>
                    <a:cubicBezTo>
                      <a:pt x="108" y="1073"/>
                      <a:pt x="111" y="1043"/>
                      <a:pt x="113" y="1012"/>
                    </a:cubicBezTo>
                    <a:cubicBezTo>
                      <a:pt x="116" y="969"/>
                      <a:pt x="123" y="927"/>
                      <a:pt x="135" y="886"/>
                    </a:cubicBezTo>
                    <a:cubicBezTo>
                      <a:pt x="158" y="805"/>
                      <a:pt x="182" y="725"/>
                      <a:pt x="206" y="645"/>
                    </a:cubicBezTo>
                    <a:cubicBezTo>
                      <a:pt x="242" y="525"/>
                      <a:pt x="279" y="405"/>
                      <a:pt x="314" y="284"/>
                    </a:cubicBezTo>
                    <a:cubicBezTo>
                      <a:pt x="332" y="223"/>
                      <a:pt x="343" y="161"/>
                      <a:pt x="343" y="97"/>
                    </a:cubicBezTo>
                    <a:cubicBezTo>
                      <a:pt x="343" y="71"/>
                      <a:pt x="346" y="46"/>
                      <a:pt x="348" y="20"/>
                    </a:cubicBezTo>
                    <a:cubicBezTo>
                      <a:pt x="349" y="7"/>
                      <a:pt x="354" y="2"/>
                      <a:pt x="367" y="0"/>
                    </a:cubicBezTo>
                    <a:cubicBezTo>
                      <a:pt x="374" y="0"/>
                      <a:pt x="381" y="0"/>
                      <a:pt x="389" y="0"/>
                    </a:cubicBezTo>
                    <a:cubicBezTo>
                      <a:pt x="589" y="0"/>
                      <a:pt x="789" y="0"/>
                      <a:pt x="989" y="0"/>
                    </a:cubicBezTo>
                    <a:cubicBezTo>
                      <a:pt x="1028" y="0"/>
                      <a:pt x="1033" y="5"/>
                      <a:pt x="1033" y="44"/>
                    </a:cubicBezTo>
                    <a:cubicBezTo>
                      <a:pt x="1033" y="66"/>
                      <a:pt x="1033" y="87"/>
                      <a:pt x="1034" y="109"/>
                    </a:cubicBezTo>
                    <a:cubicBezTo>
                      <a:pt x="1037" y="177"/>
                      <a:pt x="1051" y="242"/>
                      <a:pt x="1071" y="307"/>
                    </a:cubicBezTo>
                    <a:cubicBezTo>
                      <a:pt x="1108" y="432"/>
                      <a:pt x="1146" y="558"/>
                      <a:pt x="1183" y="683"/>
                    </a:cubicBezTo>
                    <a:cubicBezTo>
                      <a:pt x="1205" y="756"/>
                      <a:pt x="1227" y="829"/>
                      <a:pt x="1247" y="903"/>
                    </a:cubicBezTo>
                    <a:cubicBezTo>
                      <a:pt x="1255" y="935"/>
                      <a:pt x="1259" y="967"/>
                      <a:pt x="1263" y="1000"/>
                    </a:cubicBezTo>
                    <a:cubicBezTo>
                      <a:pt x="1267" y="1034"/>
                      <a:pt x="1269" y="1069"/>
                      <a:pt x="1272" y="1107"/>
                    </a:cubicBezTo>
                    <a:cubicBezTo>
                      <a:pt x="1293" y="1108"/>
                      <a:pt x="1315" y="1107"/>
                      <a:pt x="1338" y="1107"/>
                    </a:cubicBezTo>
                    <a:cubicBezTo>
                      <a:pt x="1368" y="1108"/>
                      <a:pt x="1375" y="1115"/>
                      <a:pt x="1375" y="1143"/>
                    </a:cubicBezTo>
                    <a:cubicBezTo>
                      <a:pt x="1375" y="1190"/>
                      <a:pt x="1375" y="1236"/>
                      <a:pt x="1375" y="1283"/>
                    </a:cubicBezTo>
                    <a:cubicBezTo>
                      <a:pt x="1375" y="1311"/>
                      <a:pt x="1367" y="1318"/>
                      <a:pt x="1338" y="1318"/>
                    </a:cubicBezTo>
                    <a:cubicBezTo>
                      <a:pt x="1225" y="1318"/>
                      <a:pt x="1113" y="1318"/>
                      <a:pt x="1001" y="1318"/>
                    </a:cubicBezTo>
                    <a:cubicBezTo>
                      <a:pt x="685" y="1318"/>
                      <a:pt x="370" y="1318"/>
                      <a:pt x="54" y="1319"/>
                    </a:cubicBezTo>
                    <a:cubicBezTo>
                      <a:pt x="8" y="1319"/>
                      <a:pt x="0" y="1308"/>
                      <a:pt x="2" y="1265"/>
                    </a:cubicBezTo>
                    <a:cubicBezTo>
                      <a:pt x="3" y="1228"/>
                      <a:pt x="2" y="1191"/>
                      <a:pt x="2" y="1154"/>
                    </a:cubicBezTo>
                    <a:cubicBezTo>
                      <a:pt x="2" y="1148"/>
                      <a:pt x="1" y="1141"/>
                      <a:pt x="2" y="1135"/>
                    </a:cubicBezTo>
                    <a:cubicBezTo>
                      <a:pt x="5" y="1116"/>
                      <a:pt x="13" y="1108"/>
                      <a:pt x="32" y="1108"/>
                    </a:cubicBezTo>
                    <a:cubicBezTo>
                      <a:pt x="56" y="1107"/>
                      <a:pt x="80" y="1108"/>
                      <a:pt x="105" y="1108"/>
                    </a:cubicBezTo>
                    <a:close/>
                    <a:moveTo>
                      <a:pt x="400" y="52"/>
                    </a:moveTo>
                    <a:cubicBezTo>
                      <a:pt x="397" y="92"/>
                      <a:pt x="396" y="129"/>
                      <a:pt x="391" y="165"/>
                    </a:cubicBezTo>
                    <a:cubicBezTo>
                      <a:pt x="387" y="200"/>
                      <a:pt x="381" y="234"/>
                      <a:pt x="372" y="268"/>
                    </a:cubicBezTo>
                    <a:cubicBezTo>
                      <a:pt x="362" y="309"/>
                      <a:pt x="349" y="350"/>
                      <a:pt x="336" y="391"/>
                    </a:cubicBezTo>
                    <a:cubicBezTo>
                      <a:pt x="298" y="521"/>
                      <a:pt x="259" y="651"/>
                      <a:pt x="220" y="781"/>
                    </a:cubicBezTo>
                    <a:cubicBezTo>
                      <a:pt x="206" y="831"/>
                      <a:pt x="191" y="881"/>
                      <a:pt x="179" y="932"/>
                    </a:cubicBezTo>
                    <a:cubicBezTo>
                      <a:pt x="171" y="967"/>
                      <a:pt x="166" y="1004"/>
                      <a:pt x="163" y="1041"/>
                    </a:cubicBezTo>
                    <a:cubicBezTo>
                      <a:pt x="161" y="1062"/>
                      <a:pt x="158" y="1085"/>
                      <a:pt x="165" y="1107"/>
                    </a:cubicBezTo>
                    <a:cubicBezTo>
                      <a:pt x="316" y="1112"/>
                      <a:pt x="1185" y="1109"/>
                      <a:pt x="1214" y="1104"/>
                    </a:cubicBezTo>
                    <a:cubicBezTo>
                      <a:pt x="1217" y="1044"/>
                      <a:pt x="1213" y="985"/>
                      <a:pt x="1198" y="927"/>
                    </a:cubicBezTo>
                    <a:cubicBezTo>
                      <a:pt x="1184" y="873"/>
                      <a:pt x="1168" y="819"/>
                      <a:pt x="1152" y="765"/>
                    </a:cubicBezTo>
                    <a:cubicBezTo>
                      <a:pt x="1109" y="620"/>
                      <a:pt x="1066" y="476"/>
                      <a:pt x="1022" y="331"/>
                    </a:cubicBezTo>
                    <a:cubicBezTo>
                      <a:pt x="996" y="246"/>
                      <a:pt x="979" y="159"/>
                      <a:pt x="979" y="69"/>
                    </a:cubicBezTo>
                    <a:cubicBezTo>
                      <a:pt x="979" y="63"/>
                      <a:pt x="978" y="57"/>
                      <a:pt x="977" y="52"/>
                    </a:cubicBezTo>
                    <a:cubicBezTo>
                      <a:pt x="784" y="52"/>
                      <a:pt x="592" y="52"/>
                      <a:pt x="400" y="52"/>
                    </a:cubicBezTo>
                    <a:close/>
                    <a:moveTo>
                      <a:pt x="1319" y="1160"/>
                    </a:moveTo>
                    <a:cubicBezTo>
                      <a:pt x="897" y="1160"/>
                      <a:pt x="477" y="1160"/>
                      <a:pt x="58" y="1160"/>
                    </a:cubicBezTo>
                    <a:cubicBezTo>
                      <a:pt x="58" y="1195"/>
                      <a:pt x="58" y="1228"/>
                      <a:pt x="58" y="1264"/>
                    </a:cubicBezTo>
                    <a:cubicBezTo>
                      <a:pt x="68" y="1264"/>
                      <a:pt x="76" y="1264"/>
                      <a:pt x="84" y="1264"/>
                    </a:cubicBezTo>
                    <a:cubicBezTo>
                      <a:pt x="494" y="1264"/>
                      <a:pt x="904" y="1263"/>
                      <a:pt x="1315" y="1263"/>
                    </a:cubicBezTo>
                    <a:cubicBezTo>
                      <a:pt x="1316" y="1263"/>
                      <a:pt x="1316" y="1262"/>
                      <a:pt x="1317" y="1262"/>
                    </a:cubicBezTo>
                    <a:cubicBezTo>
                      <a:pt x="1318" y="1261"/>
                      <a:pt x="1319" y="1260"/>
                      <a:pt x="1319" y="1259"/>
                    </a:cubicBezTo>
                    <a:cubicBezTo>
                      <a:pt x="1319" y="1227"/>
                      <a:pt x="1319" y="1194"/>
                      <a:pt x="1319" y="1160"/>
                    </a:cubicBezTo>
                    <a:close/>
                  </a:path>
                </a:pathLst>
              </a:custGeom>
              <a:solidFill>
                <a:srgbClr val="100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8" name="Freeform 35">
                <a:extLst>
                  <a:ext uri="{FF2B5EF4-FFF2-40B4-BE49-F238E27FC236}">
                    <a16:creationId xmlns:a16="http://schemas.microsoft.com/office/drawing/2014/main" id="{E44419DA-96E5-4C46-8B94-0A729A504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76738" y="1323975"/>
                <a:ext cx="19050" cy="69850"/>
              </a:xfrm>
              <a:custGeom>
                <a:avLst/>
                <a:gdLst>
                  <a:gd name="T0" fmla="*/ 1 w 56"/>
                  <a:gd name="T1" fmla="*/ 105 h 213"/>
                  <a:gd name="T2" fmla="*/ 1 w 56"/>
                  <a:gd name="T3" fmla="*/ 31 h 213"/>
                  <a:gd name="T4" fmla="*/ 25 w 56"/>
                  <a:gd name="T5" fmla="*/ 1 h 213"/>
                  <a:gd name="T6" fmla="*/ 52 w 56"/>
                  <a:gd name="T7" fmla="*/ 25 h 213"/>
                  <a:gd name="T8" fmla="*/ 56 w 56"/>
                  <a:gd name="T9" fmla="*/ 52 h 213"/>
                  <a:gd name="T10" fmla="*/ 56 w 56"/>
                  <a:gd name="T11" fmla="*/ 166 h 213"/>
                  <a:gd name="T12" fmla="*/ 51 w 56"/>
                  <a:gd name="T13" fmla="*/ 192 h 213"/>
                  <a:gd name="T14" fmla="*/ 23 w 56"/>
                  <a:gd name="T15" fmla="*/ 211 h 213"/>
                  <a:gd name="T16" fmla="*/ 1 w 56"/>
                  <a:gd name="T17" fmla="*/ 185 h 213"/>
                  <a:gd name="T18" fmla="*/ 1 w 56"/>
                  <a:gd name="T19" fmla="*/ 105 h 213"/>
                  <a:gd name="T20" fmla="*/ 1 w 56"/>
                  <a:gd name="T21" fmla="*/ 105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213">
                    <a:moveTo>
                      <a:pt x="1" y="105"/>
                    </a:moveTo>
                    <a:cubicBezTo>
                      <a:pt x="1" y="80"/>
                      <a:pt x="0" y="55"/>
                      <a:pt x="1" y="31"/>
                    </a:cubicBezTo>
                    <a:cubicBezTo>
                      <a:pt x="1" y="13"/>
                      <a:pt x="11" y="2"/>
                      <a:pt x="25" y="1"/>
                    </a:cubicBezTo>
                    <a:cubicBezTo>
                      <a:pt x="38" y="0"/>
                      <a:pt x="47" y="7"/>
                      <a:pt x="52" y="25"/>
                    </a:cubicBezTo>
                    <a:cubicBezTo>
                      <a:pt x="54" y="34"/>
                      <a:pt x="55" y="43"/>
                      <a:pt x="56" y="52"/>
                    </a:cubicBezTo>
                    <a:cubicBezTo>
                      <a:pt x="56" y="90"/>
                      <a:pt x="56" y="128"/>
                      <a:pt x="56" y="166"/>
                    </a:cubicBezTo>
                    <a:cubicBezTo>
                      <a:pt x="55" y="175"/>
                      <a:pt x="54" y="184"/>
                      <a:pt x="51" y="192"/>
                    </a:cubicBezTo>
                    <a:cubicBezTo>
                      <a:pt x="45" y="207"/>
                      <a:pt x="35" y="213"/>
                      <a:pt x="23" y="211"/>
                    </a:cubicBezTo>
                    <a:cubicBezTo>
                      <a:pt x="10" y="209"/>
                      <a:pt x="2" y="200"/>
                      <a:pt x="1" y="185"/>
                    </a:cubicBezTo>
                    <a:cubicBezTo>
                      <a:pt x="0" y="158"/>
                      <a:pt x="1" y="131"/>
                      <a:pt x="1" y="105"/>
                    </a:cubicBezTo>
                    <a:cubicBezTo>
                      <a:pt x="1" y="105"/>
                      <a:pt x="1" y="105"/>
                      <a:pt x="1" y="105"/>
                    </a:cubicBezTo>
                    <a:close/>
                  </a:path>
                </a:pathLst>
              </a:custGeom>
              <a:solidFill>
                <a:srgbClr val="100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9" name="Freeform 36">
                <a:extLst>
                  <a:ext uri="{FF2B5EF4-FFF2-40B4-BE49-F238E27FC236}">
                    <a16:creationId xmlns:a16="http://schemas.microsoft.com/office/drawing/2014/main" id="{A97C5E18-FFE3-42BD-B00E-9EA935533E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350" y="1339850"/>
                <a:ext cx="19050" cy="53975"/>
              </a:xfrm>
              <a:custGeom>
                <a:avLst/>
                <a:gdLst>
                  <a:gd name="T0" fmla="*/ 56 w 56"/>
                  <a:gd name="T1" fmla="*/ 79 h 162"/>
                  <a:gd name="T2" fmla="*/ 55 w 56"/>
                  <a:gd name="T3" fmla="*/ 128 h 162"/>
                  <a:gd name="T4" fmla="*/ 35 w 56"/>
                  <a:gd name="T5" fmla="*/ 159 h 162"/>
                  <a:gd name="T6" fmla="*/ 1 w 56"/>
                  <a:gd name="T7" fmla="*/ 131 h 162"/>
                  <a:gd name="T8" fmla="*/ 1 w 56"/>
                  <a:gd name="T9" fmla="*/ 97 h 162"/>
                  <a:gd name="T10" fmla="*/ 1 w 56"/>
                  <a:gd name="T11" fmla="*/ 42 h 162"/>
                  <a:gd name="T12" fmla="*/ 1 w 56"/>
                  <a:gd name="T13" fmla="*/ 26 h 162"/>
                  <a:gd name="T14" fmla="*/ 28 w 56"/>
                  <a:gd name="T15" fmla="*/ 0 h 162"/>
                  <a:gd name="T16" fmla="*/ 55 w 56"/>
                  <a:gd name="T17" fmla="*/ 26 h 162"/>
                  <a:gd name="T18" fmla="*/ 56 w 56"/>
                  <a:gd name="T19" fmla="*/ 79 h 162"/>
                  <a:gd name="T20" fmla="*/ 56 w 56"/>
                  <a:gd name="T21" fmla="*/ 79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162">
                    <a:moveTo>
                      <a:pt x="56" y="79"/>
                    </a:moveTo>
                    <a:cubicBezTo>
                      <a:pt x="56" y="95"/>
                      <a:pt x="56" y="112"/>
                      <a:pt x="55" y="128"/>
                    </a:cubicBezTo>
                    <a:cubicBezTo>
                      <a:pt x="55" y="146"/>
                      <a:pt x="47" y="156"/>
                      <a:pt x="35" y="159"/>
                    </a:cubicBezTo>
                    <a:cubicBezTo>
                      <a:pt x="17" y="162"/>
                      <a:pt x="4" y="152"/>
                      <a:pt x="1" y="131"/>
                    </a:cubicBezTo>
                    <a:cubicBezTo>
                      <a:pt x="0" y="120"/>
                      <a:pt x="1" y="109"/>
                      <a:pt x="1" y="97"/>
                    </a:cubicBezTo>
                    <a:cubicBezTo>
                      <a:pt x="1" y="79"/>
                      <a:pt x="1" y="60"/>
                      <a:pt x="1" y="42"/>
                    </a:cubicBezTo>
                    <a:cubicBezTo>
                      <a:pt x="1" y="37"/>
                      <a:pt x="1" y="31"/>
                      <a:pt x="1" y="26"/>
                    </a:cubicBezTo>
                    <a:cubicBezTo>
                      <a:pt x="3" y="14"/>
                      <a:pt x="17" y="0"/>
                      <a:pt x="28" y="0"/>
                    </a:cubicBezTo>
                    <a:cubicBezTo>
                      <a:pt x="39" y="0"/>
                      <a:pt x="54" y="14"/>
                      <a:pt x="55" y="26"/>
                    </a:cubicBezTo>
                    <a:cubicBezTo>
                      <a:pt x="56" y="44"/>
                      <a:pt x="56" y="61"/>
                      <a:pt x="56" y="79"/>
                    </a:cubicBezTo>
                    <a:cubicBezTo>
                      <a:pt x="56" y="79"/>
                      <a:pt x="56" y="79"/>
                      <a:pt x="56" y="79"/>
                    </a:cubicBezTo>
                    <a:close/>
                  </a:path>
                </a:pathLst>
              </a:custGeom>
              <a:solidFill>
                <a:srgbClr val="100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30" name="Freeform 37">
                <a:extLst>
                  <a:ext uri="{FF2B5EF4-FFF2-40B4-BE49-F238E27FC236}">
                    <a16:creationId xmlns:a16="http://schemas.microsoft.com/office/drawing/2014/main" id="{EABF796D-21FF-445C-B018-D75A69C977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7538" y="1341438"/>
                <a:ext cx="19050" cy="50800"/>
              </a:xfrm>
              <a:custGeom>
                <a:avLst/>
                <a:gdLst>
                  <a:gd name="T0" fmla="*/ 55 w 55"/>
                  <a:gd name="T1" fmla="*/ 82 h 159"/>
                  <a:gd name="T2" fmla="*/ 54 w 55"/>
                  <a:gd name="T3" fmla="*/ 131 h 159"/>
                  <a:gd name="T4" fmla="*/ 30 w 55"/>
                  <a:gd name="T5" fmla="*/ 158 h 159"/>
                  <a:gd name="T6" fmla="*/ 3 w 55"/>
                  <a:gd name="T7" fmla="*/ 135 h 159"/>
                  <a:gd name="T8" fmla="*/ 0 w 55"/>
                  <a:gd name="T9" fmla="*/ 120 h 159"/>
                  <a:gd name="T10" fmla="*/ 0 w 55"/>
                  <a:gd name="T11" fmla="*/ 36 h 159"/>
                  <a:gd name="T12" fmla="*/ 4 w 55"/>
                  <a:gd name="T13" fmla="*/ 19 h 159"/>
                  <a:gd name="T14" fmla="*/ 33 w 55"/>
                  <a:gd name="T15" fmla="*/ 3 h 159"/>
                  <a:gd name="T16" fmla="*/ 54 w 55"/>
                  <a:gd name="T17" fmla="*/ 26 h 159"/>
                  <a:gd name="T18" fmla="*/ 55 w 55"/>
                  <a:gd name="T19" fmla="*/ 82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5" h="159">
                    <a:moveTo>
                      <a:pt x="55" y="82"/>
                    </a:moveTo>
                    <a:cubicBezTo>
                      <a:pt x="55" y="98"/>
                      <a:pt x="55" y="115"/>
                      <a:pt x="54" y="131"/>
                    </a:cubicBezTo>
                    <a:cubicBezTo>
                      <a:pt x="54" y="147"/>
                      <a:pt x="44" y="157"/>
                      <a:pt x="30" y="158"/>
                    </a:cubicBezTo>
                    <a:cubicBezTo>
                      <a:pt x="16" y="159"/>
                      <a:pt x="7" y="151"/>
                      <a:pt x="3" y="135"/>
                    </a:cubicBezTo>
                    <a:cubicBezTo>
                      <a:pt x="2" y="130"/>
                      <a:pt x="0" y="125"/>
                      <a:pt x="0" y="120"/>
                    </a:cubicBezTo>
                    <a:cubicBezTo>
                      <a:pt x="0" y="92"/>
                      <a:pt x="0" y="64"/>
                      <a:pt x="0" y="36"/>
                    </a:cubicBezTo>
                    <a:cubicBezTo>
                      <a:pt x="1" y="30"/>
                      <a:pt x="2" y="24"/>
                      <a:pt x="4" y="19"/>
                    </a:cubicBezTo>
                    <a:cubicBezTo>
                      <a:pt x="10" y="5"/>
                      <a:pt x="19" y="0"/>
                      <a:pt x="33" y="3"/>
                    </a:cubicBezTo>
                    <a:cubicBezTo>
                      <a:pt x="45" y="5"/>
                      <a:pt x="54" y="13"/>
                      <a:pt x="54" y="26"/>
                    </a:cubicBezTo>
                    <a:cubicBezTo>
                      <a:pt x="55" y="44"/>
                      <a:pt x="55" y="63"/>
                      <a:pt x="55" y="82"/>
                    </a:cubicBezTo>
                    <a:close/>
                  </a:path>
                </a:pathLst>
              </a:custGeom>
              <a:solidFill>
                <a:srgbClr val="100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31" name="Freeform 38">
                <a:extLst>
                  <a:ext uri="{FF2B5EF4-FFF2-40B4-BE49-F238E27FC236}">
                    <a16:creationId xmlns:a16="http://schemas.microsoft.com/office/drawing/2014/main" id="{00B2443D-4871-4D72-A715-2E96628A09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71963" y="1530350"/>
                <a:ext cx="225425" cy="225425"/>
              </a:xfrm>
              <a:custGeom>
                <a:avLst/>
                <a:gdLst>
                  <a:gd name="T0" fmla="*/ 5 w 690"/>
                  <a:gd name="T1" fmla="*/ 346 h 688"/>
                  <a:gd name="T2" fmla="*/ 347 w 690"/>
                  <a:gd name="T3" fmla="*/ 1 h 688"/>
                  <a:gd name="T4" fmla="*/ 690 w 690"/>
                  <a:gd name="T5" fmla="*/ 346 h 688"/>
                  <a:gd name="T6" fmla="*/ 347 w 690"/>
                  <a:gd name="T7" fmla="*/ 687 h 688"/>
                  <a:gd name="T8" fmla="*/ 5 w 690"/>
                  <a:gd name="T9" fmla="*/ 346 h 688"/>
                  <a:gd name="T10" fmla="*/ 347 w 690"/>
                  <a:gd name="T11" fmla="*/ 54 h 688"/>
                  <a:gd name="T12" fmla="*/ 57 w 690"/>
                  <a:gd name="T13" fmla="*/ 345 h 688"/>
                  <a:gd name="T14" fmla="*/ 346 w 690"/>
                  <a:gd name="T15" fmla="*/ 634 h 688"/>
                  <a:gd name="T16" fmla="*/ 637 w 690"/>
                  <a:gd name="T17" fmla="*/ 346 h 688"/>
                  <a:gd name="T18" fmla="*/ 347 w 690"/>
                  <a:gd name="T19" fmla="*/ 54 h 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0" h="688">
                    <a:moveTo>
                      <a:pt x="5" y="346"/>
                    </a:moveTo>
                    <a:cubicBezTo>
                      <a:pt x="0" y="164"/>
                      <a:pt x="150" y="0"/>
                      <a:pt x="347" y="1"/>
                    </a:cubicBezTo>
                    <a:cubicBezTo>
                      <a:pt x="543" y="2"/>
                      <a:pt x="690" y="152"/>
                      <a:pt x="690" y="346"/>
                    </a:cubicBezTo>
                    <a:cubicBezTo>
                      <a:pt x="690" y="544"/>
                      <a:pt x="527" y="686"/>
                      <a:pt x="347" y="687"/>
                    </a:cubicBezTo>
                    <a:cubicBezTo>
                      <a:pt x="159" y="688"/>
                      <a:pt x="0" y="527"/>
                      <a:pt x="5" y="346"/>
                    </a:cubicBezTo>
                    <a:close/>
                    <a:moveTo>
                      <a:pt x="347" y="54"/>
                    </a:moveTo>
                    <a:cubicBezTo>
                      <a:pt x="193" y="53"/>
                      <a:pt x="56" y="174"/>
                      <a:pt x="57" y="345"/>
                    </a:cubicBezTo>
                    <a:cubicBezTo>
                      <a:pt x="58" y="506"/>
                      <a:pt x="179" y="633"/>
                      <a:pt x="346" y="634"/>
                    </a:cubicBezTo>
                    <a:cubicBezTo>
                      <a:pt x="512" y="634"/>
                      <a:pt x="635" y="506"/>
                      <a:pt x="637" y="346"/>
                    </a:cubicBezTo>
                    <a:cubicBezTo>
                      <a:pt x="639" y="184"/>
                      <a:pt x="507" y="54"/>
                      <a:pt x="347" y="54"/>
                    </a:cubicBezTo>
                    <a:close/>
                  </a:path>
                </a:pathLst>
              </a:custGeom>
              <a:solidFill>
                <a:srgbClr val="100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32" name="Freeform 39">
                <a:extLst>
                  <a:ext uri="{FF2B5EF4-FFF2-40B4-BE49-F238E27FC236}">
                    <a16:creationId xmlns:a16="http://schemas.microsoft.com/office/drawing/2014/main" id="{195751D1-46E8-4324-82B4-7B57480090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316413" y="1581150"/>
                <a:ext cx="138113" cy="133350"/>
              </a:xfrm>
              <a:custGeom>
                <a:avLst/>
                <a:gdLst>
                  <a:gd name="T0" fmla="*/ 152 w 424"/>
                  <a:gd name="T1" fmla="*/ 244 h 407"/>
                  <a:gd name="T2" fmla="*/ 137 w 424"/>
                  <a:gd name="T3" fmla="*/ 217 h 407"/>
                  <a:gd name="T4" fmla="*/ 37 w 424"/>
                  <a:gd name="T5" fmla="*/ 217 h 407"/>
                  <a:gd name="T6" fmla="*/ 2 w 424"/>
                  <a:gd name="T7" fmla="*/ 180 h 407"/>
                  <a:gd name="T8" fmla="*/ 102 w 424"/>
                  <a:gd name="T9" fmla="*/ 12 h 407"/>
                  <a:gd name="T10" fmla="*/ 147 w 424"/>
                  <a:gd name="T11" fmla="*/ 25 h 407"/>
                  <a:gd name="T12" fmla="*/ 197 w 424"/>
                  <a:gd name="T13" fmla="*/ 111 h 407"/>
                  <a:gd name="T14" fmla="*/ 228 w 424"/>
                  <a:gd name="T15" fmla="*/ 111 h 407"/>
                  <a:gd name="T16" fmla="*/ 287 w 424"/>
                  <a:gd name="T17" fmla="*/ 10 h 407"/>
                  <a:gd name="T18" fmla="*/ 332 w 424"/>
                  <a:gd name="T19" fmla="*/ 17 h 407"/>
                  <a:gd name="T20" fmla="*/ 423 w 424"/>
                  <a:gd name="T21" fmla="*/ 184 h 407"/>
                  <a:gd name="T22" fmla="*/ 390 w 424"/>
                  <a:gd name="T23" fmla="*/ 217 h 407"/>
                  <a:gd name="T24" fmla="*/ 290 w 424"/>
                  <a:gd name="T25" fmla="*/ 217 h 407"/>
                  <a:gd name="T26" fmla="*/ 273 w 424"/>
                  <a:gd name="T27" fmla="*/ 242 h 407"/>
                  <a:gd name="T28" fmla="*/ 318 w 424"/>
                  <a:gd name="T29" fmla="*/ 320 h 407"/>
                  <a:gd name="T30" fmla="*/ 327 w 424"/>
                  <a:gd name="T31" fmla="*/ 336 h 407"/>
                  <a:gd name="T32" fmla="*/ 315 w 424"/>
                  <a:gd name="T33" fmla="*/ 375 h 407"/>
                  <a:gd name="T34" fmla="*/ 187 w 424"/>
                  <a:gd name="T35" fmla="*/ 401 h 407"/>
                  <a:gd name="T36" fmla="*/ 118 w 424"/>
                  <a:gd name="T37" fmla="*/ 378 h 407"/>
                  <a:gd name="T38" fmla="*/ 102 w 424"/>
                  <a:gd name="T39" fmla="*/ 330 h 407"/>
                  <a:gd name="T40" fmla="*/ 152 w 424"/>
                  <a:gd name="T41" fmla="*/ 244 h 407"/>
                  <a:gd name="T42" fmla="*/ 140 w 424"/>
                  <a:gd name="T43" fmla="*/ 161 h 407"/>
                  <a:gd name="T44" fmla="*/ 152 w 424"/>
                  <a:gd name="T45" fmla="*/ 138 h 407"/>
                  <a:gd name="T46" fmla="*/ 111 w 424"/>
                  <a:gd name="T47" fmla="*/ 69 h 407"/>
                  <a:gd name="T48" fmla="*/ 60 w 424"/>
                  <a:gd name="T49" fmla="*/ 161 h 407"/>
                  <a:gd name="T50" fmla="*/ 140 w 424"/>
                  <a:gd name="T51" fmla="*/ 161 h 407"/>
                  <a:gd name="T52" fmla="*/ 267 w 424"/>
                  <a:gd name="T53" fmla="*/ 339 h 407"/>
                  <a:gd name="T54" fmla="*/ 229 w 424"/>
                  <a:gd name="T55" fmla="*/ 272 h 407"/>
                  <a:gd name="T56" fmla="*/ 197 w 424"/>
                  <a:gd name="T57" fmla="*/ 272 h 407"/>
                  <a:gd name="T58" fmla="*/ 158 w 424"/>
                  <a:gd name="T59" fmla="*/ 339 h 407"/>
                  <a:gd name="T60" fmla="*/ 267 w 424"/>
                  <a:gd name="T61" fmla="*/ 339 h 407"/>
                  <a:gd name="T62" fmla="*/ 370 w 424"/>
                  <a:gd name="T63" fmla="*/ 161 h 407"/>
                  <a:gd name="T64" fmla="*/ 314 w 424"/>
                  <a:gd name="T65" fmla="*/ 70 h 407"/>
                  <a:gd name="T66" fmla="*/ 274 w 424"/>
                  <a:gd name="T67" fmla="*/ 140 h 407"/>
                  <a:gd name="T68" fmla="*/ 288 w 424"/>
                  <a:gd name="T69" fmla="*/ 161 h 407"/>
                  <a:gd name="T70" fmla="*/ 370 w 424"/>
                  <a:gd name="T71" fmla="*/ 161 h 407"/>
                  <a:gd name="T72" fmla="*/ 216 w 424"/>
                  <a:gd name="T73" fmla="*/ 167 h 407"/>
                  <a:gd name="T74" fmla="*/ 187 w 424"/>
                  <a:gd name="T75" fmla="*/ 191 h 407"/>
                  <a:gd name="T76" fmla="*/ 210 w 424"/>
                  <a:gd name="T77" fmla="*/ 217 h 407"/>
                  <a:gd name="T78" fmla="*/ 237 w 424"/>
                  <a:gd name="T79" fmla="*/ 191 h 407"/>
                  <a:gd name="T80" fmla="*/ 216 w 424"/>
                  <a:gd name="T81" fmla="*/ 167 h 4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24" h="407">
                    <a:moveTo>
                      <a:pt x="152" y="244"/>
                    </a:moveTo>
                    <a:cubicBezTo>
                      <a:pt x="147" y="235"/>
                      <a:pt x="142" y="226"/>
                      <a:pt x="137" y="217"/>
                    </a:cubicBezTo>
                    <a:cubicBezTo>
                      <a:pt x="103" y="217"/>
                      <a:pt x="70" y="217"/>
                      <a:pt x="37" y="217"/>
                    </a:cubicBezTo>
                    <a:cubicBezTo>
                      <a:pt x="8" y="217"/>
                      <a:pt x="0" y="209"/>
                      <a:pt x="2" y="180"/>
                    </a:cubicBezTo>
                    <a:cubicBezTo>
                      <a:pt x="8" y="108"/>
                      <a:pt x="39" y="50"/>
                      <a:pt x="102" y="12"/>
                    </a:cubicBezTo>
                    <a:cubicBezTo>
                      <a:pt x="122" y="0"/>
                      <a:pt x="134" y="3"/>
                      <a:pt x="147" y="25"/>
                    </a:cubicBezTo>
                    <a:cubicBezTo>
                      <a:pt x="164" y="52"/>
                      <a:pt x="180" y="81"/>
                      <a:pt x="197" y="111"/>
                    </a:cubicBezTo>
                    <a:cubicBezTo>
                      <a:pt x="207" y="111"/>
                      <a:pt x="217" y="111"/>
                      <a:pt x="228" y="111"/>
                    </a:cubicBezTo>
                    <a:cubicBezTo>
                      <a:pt x="248" y="77"/>
                      <a:pt x="268" y="42"/>
                      <a:pt x="287" y="10"/>
                    </a:cubicBezTo>
                    <a:cubicBezTo>
                      <a:pt x="306" y="3"/>
                      <a:pt x="319" y="7"/>
                      <a:pt x="332" y="17"/>
                    </a:cubicBezTo>
                    <a:cubicBezTo>
                      <a:pt x="389" y="59"/>
                      <a:pt x="421" y="113"/>
                      <a:pt x="423" y="184"/>
                    </a:cubicBezTo>
                    <a:cubicBezTo>
                      <a:pt x="424" y="209"/>
                      <a:pt x="416" y="216"/>
                      <a:pt x="390" y="217"/>
                    </a:cubicBezTo>
                    <a:cubicBezTo>
                      <a:pt x="357" y="217"/>
                      <a:pt x="324" y="217"/>
                      <a:pt x="290" y="217"/>
                    </a:cubicBezTo>
                    <a:cubicBezTo>
                      <a:pt x="285" y="225"/>
                      <a:pt x="279" y="233"/>
                      <a:pt x="273" y="242"/>
                    </a:cubicBezTo>
                    <a:cubicBezTo>
                      <a:pt x="288" y="269"/>
                      <a:pt x="303" y="294"/>
                      <a:pt x="318" y="320"/>
                    </a:cubicBezTo>
                    <a:cubicBezTo>
                      <a:pt x="321" y="325"/>
                      <a:pt x="325" y="331"/>
                      <a:pt x="327" y="336"/>
                    </a:cubicBezTo>
                    <a:cubicBezTo>
                      <a:pt x="334" y="353"/>
                      <a:pt x="331" y="366"/>
                      <a:pt x="315" y="375"/>
                    </a:cubicBezTo>
                    <a:cubicBezTo>
                      <a:pt x="275" y="397"/>
                      <a:pt x="232" y="407"/>
                      <a:pt x="187" y="401"/>
                    </a:cubicBezTo>
                    <a:cubicBezTo>
                      <a:pt x="163" y="397"/>
                      <a:pt x="140" y="388"/>
                      <a:pt x="118" y="378"/>
                    </a:cubicBezTo>
                    <a:cubicBezTo>
                      <a:pt x="92" y="367"/>
                      <a:pt x="88" y="354"/>
                      <a:pt x="102" y="330"/>
                    </a:cubicBezTo>
                    <a:cubicBezTo>
                      <a:pt x="118" y="302"/>
                      <a:pt x="135" y="273"/>
                      <a:pt x="152" y="244"/>
                    </a:cubicBezTo>
                    <a:close/>
                    <a:moveTo>
                      <a:pt x="140" y="161"/>
                    </a:moveTo>
                    <a:cubicBezTo>
                      <a:pt x="144" y="154"/>
                      <a:pt x="148" y="146"/>
                      <a:pt x="152" y="138"/>
                    </a:cubicBezTo>
                    <a:cubicBezTo>
                      <a:pt x="138" y="114"/>
                      <a:pt x="125" y="92"/>
                      <a:pt x="111" y="69"/>
                    </a:cubicBezTo>
                    <a:cubicBezTo>
                      <a:pt x="79" y="101"/>
                      <a:pt x="67" y="122"/>
                      <a:pt x="60" y="161"/>
                    </a:cubicBezTo>
                    <a:cubicBezTo>
                      <a:pt x="86" y="161"/>
                      <a:pt x="112" y="161"/>
                      <a:pt x="140" y="161"/>
                    </a:cubicBezTo>
                    <a:close/>
                    <a:moveTo>
                      <a:pt x="267" y="339"/>
                    </a:moveTo>
                    <a:cubicBezTo>
                      <a:pt x="254" y="316"/>
                      <a:pt x="241" y="294"/>
                      <a:pt x="229" y="272"/>
                    </a:cubicBezTo>
                    <a:cubicBezTo>
                      <a:pt x="217" y="272"/>
                      <a:pt x="207" y="272"/>
                      <a:pt x="197" y="272"/>
                    </a:cubicBezTo>
                    <a:cubicBezTo>
                      <a:pt x="184" y="295"/>
                      <a:pt x="171" y="316"/>
                      <a:pt x="158" y="339"/>
                    </a:cubicBezTo>
                    <a:cubicBezTo>
                      <a:pt x="195" y="351"/>
                      <a:pt x="231" y="352"/>
                      <a:pt x="267" y="339"/>
                    </a:cubicBezTo>
                    <a:close/>
                    <a:moveTo>
                      <a:pt x="370" y="161"/>
                    </a:moveTo>
                    <a:cubicBezTo>
                      <a:pt x="357" y="124"/>
                      <a:pt x="344" y="92"/>
                      <a:pt x="314" y="70"/>
                    </a:cubicBezTo>
                    <a:cubicBezTo>
                      <a:pt x="300" y="93"/>
                      <a:pt x="287" y="116"/>
                      <a:pt x="274" y="140"/>
                    </a:cubicBezTo>
                    <a:cubicBezTo>
                      <a:pt x="279" y="148"/>
                      <a:pt x="284" y="155"/>
                      <a:pt x="288" y="161"/>
                    </a:cubicBezTo>
                    <a:cubicBezTo>
                      <a:pt x="315" y="161"/>
                      <a:pt x="340" y="161"/>
                      <a:pt x="370" y="161"/>
                    </a:cubicBezTo>
                    <a:close/>
                    <a:moveTo>
                      <a:pt x="216" y="167"/>
                    </a:moveTo>
                    <a:cubicBezTo>
                      <a:pt x="200" y="166"/>
                      <a:pt x="187" y="176"/>
                      <a:pt x="187" y="191"/>
                    </a:cubicBezTo>
                    <a:cubicBezTo>
                      <a:pt x="187" y="204"/>
                      <a:pt x="197" y="215"/>
                      <a:pt x="210" y="217"/>
                    </a:cubicBezTo>
                    <a:cubicBezTo>
                      <a:pt x="225" y="219"/>
                      <a:pt x="237" y="207"/>
                      <a:pt x="237" y="191"/>
                    </a:cubicBezTo>
                    <a:cubicBezTo>
                      <a:pt x="238" y="176"/>
                      <a:pt x="231" y="168"/>
                      <a:pt x="216" y="167"/>
                    </a:cubicBezTo>
                    <a:close/>
                  </a:path>
                </a:pathLst>
              </a:custGeom>
              <a:solidFill>
                <a:srgbClr val="00BF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Freeform 6">
            <a:extLst>
              <a:ext uri="{FF2B5EF4-FFF2-40B4-BE49-F238E27FC236}">
                <a16:creationId xmlns:a16="http://schemas.microsoft.com/office/drawing/2014/main" id="{5CA76BB9-0642-40C4-8040-751F533B9E42}"/>
              </a:ext>
            </a:extLst>
          </p:cNvPr>
          <p:cNvSpPr>
            <a:spLocks/>
          </p:cNvSpPr>
          <p:nvPr/>
        </p:nvSpPr>
        <p:spPr bwMode="auto">
          <a:xfrm>
            <a:off x="1770630" y="1393668"/>
            <a:ext cx="1310673" cy="3110851"/>
          </a:xfrm>
          <a:custGeom>
            <a:avLst/>
            <a:gdLst>
              <a:gd name="T0" fmla="*/ 0 w 483"/>
              <a:gd name="T1" fmla="*/ 2010 h 2010"/>
              <a:gd name="T2" fmla="*/ 0 w 483"/>
              <a:gd name="T3" fmla="*/ 0 h 2010"/>
              <a:gd name="T4" fmla="*/ 483 w 483"/>
              <a:gd name="T5" fmla="*/ 782 h 2010"/>
              <a:gd name="T6" fmla="*/ 483 w 483"/>
              <a:gd name="T7" fmla="*/ 2010 h 2010"/>
              <a:gd name="T8" fmla="*/ 0 w 483"/>
              <a:gd name="T9" fmla="*/ 2010 h 2010"/>
              <a:gd name="connsiteX0" fmla="*/ 0 w 10037"/>
              <a:gd name="connsiteY0" fmla="*/ 10000 h 10000"/>
              <a:gd name="connsiteX1" fmla="*/ 0 w 10037"/>
              <a:gd name="connsiteY1" fmla="*/ 0 h 10000"/>
              <a:gd name="connsiteX2" fmla="*/ 10037 w 10037"/>
              <a:gd name="connsiteY2" fmla="*/ 2779 h 10000"/>
              <a:gd name="connsiteX3" fmla="*/ 10000 w 10037"/>
              <a:gd name="connsiteY3" fmla="*/ 10000 h 10000"/>
              <a:gd name="connsiteX4" fmla="*/ 0 w 10037"/>
              <a:gd name="connsiteY4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37" h="10000">
                <a:moveTo>
                  <a:pt x="0" y="10000"/>
                </a:moveTo>
                <a:lnTo>
                  <a:pt x="0" y="0"/>
                </a:lnTo>
                <a:lnTo>
                  <a:pt x="10037" y="2779"/>
                </a:lnTo>
                <a:cubicBezTo>
                  <a:pt x="10025" y="5186"/>
                  <a:pt x="10012" y="7593"/>
                  <a:pt x="10000" y="10000"/>
                </a:cubicBezTo>
                <a:lnTo>
                  <a:pt x="0" y="10000"/>
                </a:lnTo>
                <a:close/>
              </a:path>
            </a:pathLst>
          </a:custGeom>
          <a:solidFill>
            <a:schemeClr val="tx1"/>
          </a:solidFill>
          <a:ln w="28575" cap="flat">
            <a:solidFill>
              <a:srgbClr val="006DFF"/>
            </a:solidFill>
            <a:prstDash val="solid"/>
            <a:miter lim="800000"/>
            <a:headEnd/>
            <a:tailEnd/>
          </a:ln>
        </p:spPr>
        <p:txBody>
          <a:bodyPr vert="horz" wrap="square" lIns="18288" tIns="45720" rIns="18288" bIns="18288" numCol="1" anchor="t" anchorCtr="0" compatLnSpc="1">
            <a:prstTxWarp prst="textNoShape">
              <a:avLst/>
            </a:prstTxWarp>
          </a:bodyPr>
          <a:lstStyle/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10069F"/>
              </a:buClr>
              <a:buSzTx/>
              <a:buFontTx/>
              <a:buNone/>
              <a:tabLst/>
              <a:defRPr/>
            </a:pPr>
            <a:endParaRPr kumimoji="0" lang="en-US" sz="9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10069F"/>
              </a:buClr>
              <a:buSzTx/>
              <a:buFontTx/>
              <a:buNone/>
              <a:tabLst/>
              <a:defRPr/>
            </a:pPr>
            <a:r>
              <a:rPr kumimoji="0" lang="en-US" sz="11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Designed for market requirement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10069F"/>
              </a:buClr>
              <a:buSzTx/>
              <a:buFontTx/>
              <a:buNone/>
              <a:tabLst/>
              <a:defRPr/>
            </a:pPr>
            <a:endParaRPr kumimoji="0" lang="en-US" sz="9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34" name="Freeform 8">
            <a:extLst>
              <a:ext uri="{FF2B5EF4-FFF2-40B4-BE49-F238E27FC236}">
                <a16:creationId xmlns:a16="http://schemas.microsoft.com/office/drawing/2014/main" id="{D1D256F3-DCC5-43D7-989B-24BE4983ACC9}"/>
              </a:ext>
            </a:extLst>
          </p:cNvPr>
          <p:cNvSpPr>
            <a:spLocks/>
          </p:cNvSpPr>
          <p:nvPr/>
        </p:nvSpPr>
        <p:spPr bwMode="auto">
          <a:xfrm>
            <a:off x="4704046" y="2896182"/>
            <a:ext cx="1305842" cy="1633446"/>
          </a:xfrm>
          <a:custGeom>
            <a:avLst/>
            <a:gdLst>
              <a:gd name="T0" fmla="*/ 491 w 491"/>
              <a:gd name="T1" fmla="*/ 898 h 898"/>
              <a:gd name="T2" fmla="*/ 0 w 491"/>
              <a:gd name="T3" fmla="*/ 898 h 898"/>
              <a:gd name="T4" fmla="*/ 0 w 491"/>
              <a:gd name="T5" fmla="*/ 0 h 898"/>
              <a:gd name="T6" fmla="*/ 491 w 491"/>
              <a:gd name="T7" fmla="*/ 196 h 898"/>
              <a:gd name="T8" fmla="*/ 491 w 491"/>
              <a:gd name="T9" fmla="*/ 898 h 8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1" h="898">
                <a:moveTo>
                  <a:pt x="491" y="898"/>
                </a:moveTo>
                <a:lnTo>
                  <a:pt x="0" y="898"/>
                </a:lnTo>
                <a:lnTo>
                  <a:pt x="0" y="0"/>
                </a:lnTo>
                <a:lnTo>
                  <a:pt x="491" y="196"/>
                </a:lnTo>
                <a:lnTo>
                  <a:pt x="491" y="898"/>
                </a:lnTo>
                <a:close/>
              </a:path>
            </a:pathLst>
          </a:custGeom>
          <a:solidFill>
            <a:schemeClr val="tx1"/>
          </a:solidFill>
          <a:ln w="28575" cap="flat">
            <a:solidFill>
              <a:srgbClr val="006DFF"/>
            </a:solidFill>
            <a:prstDash val="solid"/>
            <a:miter lim="800000"/>
            <a:headEnd/>
            <a:tailEnd/>
          </a:ln>
        </p:spPr>
        <p:txBody>
          <a:bodyPr vert="horz" wrap="square" lIns="18288" tIns="45720" rIns="18288" bIns="18288" numCol="1" anchor="t" anchorCtr="0" compatLnSpc="1">
            <a:prstTxWarp prst="textNoShape">
              <a:avLst/>
            </a:prstTxWarp>
          </a:bodyPr>
          <a:lstStyle/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Standardizati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35" name="Freeform 9">
            <a:extLst>
              <a:ext uri="{FF2B5EF4-FFF2-40B4-BE49-F238E27FC236}">
                <a16:creationId xmlns:a16="http://schemas.microsoft.com/office/drawing/2014/main" id="{02F9EBE5-E339-483F-933B-B617106D8974}"/>
              </a:ext>
            </a:extLst>
          </p:cNvPr>
          <p:cNvSpPr>
            <a:spLocks/>
          </p:cNvSpPr>
          <p:nvPr/>
        </p:nvSpPr>
        <p:spPr bwMode="auto">
          <a:xfrm>
            <a:off x="6139664" y="3287365"/>
            <a:ext cx="1305842" cy="1276927"/>
          </a:xfrm>
          <a:custGeom>
            <a:avLst/>
            <a:gdLst>
              <a:gd name="T0" fmla="*/ 494 w 494"/>
              <a:gd name="T1" fmla="*/ 702 h 702"/>
              <a:gd name="T2" fmla="*/ 0 w 494"/>
              <a:gd name="T3" fmla="*/ 702 h 702"/>
              <a:gd name="T4" fmla="*/ 0 w 494"/>
              <a:gd name="T5" fmla="*/ 0 h 702"/>
              <a:gd name="T6" fmla="*/ 494 w 494"/>
              <a:gd name="T7" fmla="*/ 154 h 702"/>
              <a:gd name="T8" fmla="*/ 494 w 494"/>
              <a:gd name="T9" fmla="*/ 702 h 7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4" h="702">
                <a:moveTo>
                  <a:pt x="494" y="702"/>
                </a:moveTo>
                <a:lnTo>
                  <a:pt x="0" y="702"/>
                </a:lnTo>
                <a:lnTo>
                  <a:pt x="0" y="0"/>
                </a:lnTo>
                <a:lnTo>
                  <a:pt x="494" y="154"/>
                </a:lnTo>
                <a:lnTo>
                  <a:pt x="494" y="702"/>
                </a:lnTo>
                <a:close/>
              </a:path>
            </a:pathLst>
          </a:custGeom>
          <a:solidFill>
            <a:schemeClr val="tx1"/>
          </a:solidFill>
          <a:ln w="28575" cap="flat">
            <a:solidFill>
              <a:srgbClr val="006DFF"/>
            </a:solidFill>
            <a:prstDash val="solid"/>
            <a:miter lim="800000"/>
            <a:headEnd/>
            <a:tailEnd/>
          </a:ln>
        </p:spPr>
        <p:txBody>
          <a:bodyPr vert="horz" wrap="square" lIns="18288" tIns="45720" rIns="18288" bIns="18288" numCol="1" anchor="t" anchorCtr="0" compatLnSpc="1">
            <a:prstTxWarp prst="textNoShape">
              <a:avLst/>
            </a:prstTxWarp>
          </a:bodyPr>
          <a:lstStyle/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Schedule certainty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36" name="Freeform 10">
            <a:extLst>
              <a:ext uri="{FF2B5EF4-FFF2-40B4-BE49-F238E27FC236}">
                <a16:creationId xmlns:a16="http://schemas.microsoft.com/office/drawing/2014/main" id="{04D1A1F4-E4E4-40B2-B53B-EF12BE915D90}"/>
              </a:ext>
            </a:extLst>
          </p:cNvPr>
          <p:cNvSpPr>
            <a:spLocks/>
          </p:cNvSpPr>
          <p:nvPr/>
        </p:nvSpPr>
        <p:spPr bwMode="auto">
          <a:xfrm>
            <a:off x="7544717" y="3566421"/>
            <a:ext cx="1305842" cy="996803"/>
          </a:xfrm>
          <a:custGeom>
            <a:avLst/>
            <a:gdLst>
              <a:gd name="T0" fmla="*/ 491 w 491"/>
              <a:gd name="T1" fmla="*/ 548 h 548"/>
              <a:gd name="T2" fmla="*/ 0 w 491"/>
              <a:gd name="T3" fmla="*/ 548 h 548"/>
              <a:gd name="T4" fmla="*/ 0 w 491"/>
              <a:gd name="T5" fmla="*/ 0 h 548"/>
              <a:gd name="T6" fmla="*/ 491 w 491"/>
              <a:gd name="T7" fmla="*/ 73 h 548"/>
              <a:gd name="T8" fmla="*/ 491 w 491"/>
              <a:gd name="T9" fmla="*/ 548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1" h="548">
                <a:moveTo>
                  <a:pt x="491" y="548"/>
                </a:moveTo>
                <a:lnTo>
                  <a:pt x="0" y="548"/>
                </a:lnTo>
                <a:lnTo>
                  <a:pt x="0" y="0"/>
                </a:lnTo>
                <a:lnTo>
                  <a:pt x="491" y="73"/>
                </a:lnTo>
                <a:lnTo>
                  <a:pt x="491" y="548"/>
                </a:lnTo>
                <a:close/>
              </a:path>
            </a:pathLst>
          </a:custGeom>
          <a:solidFill>
            <a:schemeClr val="tx1"/>
          </a:solidFill>
          <a:ln w="28575" cap="flat">
            <a:solidFill>
              <a:srgbClr val="006DFF"/>
            </a:solidFill>
            <a:prstDash val="solid"/>
            <a:miter lim="800000"/>
            <a:headEnd/>
            <a:tailEnd/>
          </a:ln>
        </p:spPr>
        <p:txBody>
          <a:bodyPr vert="horz" wrap="square" lIns="18288" tIns="45720" rIns="18288" bIns="18288" numCol="1" anchor="ctr" anchorCtr="0" compatLnSpc="1">
            <a:prstTxWarp prst="textNoShape">
              <a:avLst/>
            </a:prstTxWarp>
          </a:bodyPr>
          <a:lstStyle/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8890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Commercial simplificatio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10069F"/>
              </a:buClr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60325" marR="0" lvl="0" indent="-60325" algn="l" defTabSz="6858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rgbClr val="10069F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37" name="Freeform 17">
            <a:extLst>
              <a:ext uri="{FF2B5EF4-FFF2-40B4-BE49-F238E27FC236}">
                <a16:creationId xmlns:a16="http://schemas.microsoft.com/office/drawing/2014/main" id="{289C15C4-A2DA-4A0B-A15D-E96CD7391028}"/>
              </a:ext>
            </a:extLst>
          </p:cNvPr>
          <p:cNvSpPr>
            <a:spLocks/>
          </p:cNvSpPr>
          <p:nvPr/>
        </p:nvSpPr>
        <p:spPr bwMode="auto">
          <a:xfrm>
            <a:off x="6485239" y="1935686"/>
            <a:ext cx="2567949" cy="683356"/>
          </a:xfrm>
          <a:prstGeom prst="rightArrow">
            <a:avLst/>
          </a:prstGeom>
          <a:noFill/>
          <a:ln w="9525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Much lower risk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Reduced Capital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Shorter Time to Build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= Reduced financing cos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B273159-9EF9-4EE8-84D8-6E32BE5297A5}"/>
              </a:ext>
            </a:extLst>
          </p:cNvPr>
          <p:cNvSpPr>
            <a:spLocks/>
          </p:cNvSpPr>
          <p:nvPr/>
        </p:nvSpPr>
        <p:spPr bwMode="auto">
          <a:xfrm>
            <a:off x="377325" y="1090609"/>
            <a:ext cx="1275484" cy="246221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3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1" indent="0" algn="r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9F"/>
              </a:buClr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EPC (mega project)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EBE87C2-DD28-4158-AE4C-4740CF594B08}"/>
              </a:ext>
            </a:extLst>
          </p:cNvPr>
          <p:cNvSpPr>
            <a:spLocks/>
          </p:cNvSpPr>
          <p:nvPr/>
        </p:nvSpPr>
        <p:spPr bwMode="auto">
          <a:xfrm>
            <a:off x="6607361" y="1092922"/>
            <a:ext cx="2221526" cy="338554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3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1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9F"/>
              </a:buClr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EMA (factory product)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E82C7F5-1A68-44B4-98BD-757D73E4A8D4}"/>
              </a:ext>
            </a:extLst>
          </p:cNvPr>
          <p:cNvSpPr txBox="1"/>
          <p:nvPr/>
        </p:nvSpPr>
        <p:spPr>
          <a:xfrm>
            <a:off x="197677" y="1029785"/>
            <a:ext cx="508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E21D60"/>
                </a:solidFill>
                <a:effectLst/>
                <a:uLnTx/>
                <a:uFillTx/>
                <a:latin typeface="RR Pioneer"/>
                <a:ea typeface="+mn-ea"/>
                <a:cs typeface="+mn-cs"/>
                <a:sym typeface="Wingdings" panose="05000000000000000000" pitchFamily="2" charset="2"/>
              </a:rPr>
              <a:t>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E21D6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8CF7813-D3B4-49B2-8D09-4BEE458650F4}"/>
              </a:ext>
            </a:extLst>
          </p:cNvPr>
          <p:cNvSpPr txBox="1"/>
          <p:nvPr/>
        </p:nvSpPr>
        <p:spPr>
          <a:xfrm>
            <a:off x="6260938" y="969811"/>
            <a:ext cx="5080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819C00"/>
                </a:solidFill>
                <a:effectLst/>
                <a:uLnTx/>
                <a:uFillTx/>
                <a:latin typeface="RR Pioneer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rgbClr val="819C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360FB9F4-AF1E-4F50-B0A1-F189E2542F2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1605" y="3839796"/>
            <a:ext cx="1195079" cy="443309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CD3C9A04-C403-4ED6-AE41-E11FFF19D748}"/>
              </a:ext>
            </a:extLst>
          </p:cNvPr>
          <p:cNvSpPr>
            <a:spLocks/>
          </p:cNvSpPr>
          <p:nvPr/>
        </p:nvSpPr>
        <p:spPr bwMode="auto">
          <a:xfrm>
            <a:off x="6615303" y="1405627"/>
            <a:ext cx="2221526" cy="600164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3600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1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9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E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ngineering</a:t>
            </a:r>
          </a:p>
          <a:p>
            <a:pPr marL="0" marR="0" lvl="1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9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M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anufacturing</a:t>
            </a:r>
          </a:p>
          <a:p>
            <a:pPr marL="0" marR="0" lvl="1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069F"/>
              </a:buClr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A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ssembly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022F7F02-795D-435B-B988-E87B887A8FEA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2045776" y="3655696"/>
            <a:ext cx="714375" cy="714375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189E5A50-F307-4C1D-B714-DFA2D39A6B97}"/>
              </a:ext>
            </a:extLst>
          </p:cNvPr>
          <p:cNvGrpSpPr/>
          <p:nvPr/>
        </p:nvGrpSpPr>
        <p:grpSpPr>
          <a:xfrm>
            <a:off x="3469885" y="3698866"/>
            <a:ext cx="940806" cy="639147"/>
            <a:chOff x="8120643" y="3893583"/>
            <a:chExt cx="699507" cy="463374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6132BCBA-053A-451A-AAAC-F8B78D0DD2C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356777" y="3893583"/>
              <a:ext cx="463373" cy="463373"/>
              <a:chOff x="3008313" y="1370013"/>
              <a:chExt cx="466725" cy="466725"/>
            </a:xfrm>
          </p:grpSpPr>
          <p:sp>
            <p:nvSpPr>
              <p:cNvPr id="63" name="Freeform 29">
                <a:extLst>
                  <a:ext uri="{FF2B5EF4-FFF2-40B4-BE49-F238E27FC236}">
                    <a16:creationId xmlns:a16="http://schemas.microsoft.com/office/drawing/2014/main" id="{C864BF0F-BE97-4EF5-AB5F-0E91B06C97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8313" y="1370013"/>
                <a:ext cx="466725" cy="466725"/>
              </a:xfrm>
              <a:custGeom>
                <a:avLst/>
                <a:gdLst>
                  <a:gd name="T0" fmla="*/ 659 w 1424"/>
                  <a:gd name="T1" fmla="*/ 815 h 1424"/>
                  <a:gd name="T2" fmla="*/ 711 w 1424"/>
                  <a:gd name="T3" fmla="*/ 831 h 1424"/>
                  <a:gd name="T4" fmla="*/ 711 w 1424"/>
                  <a:gd name="T5" fmla="*/ 934 h 1424"/>
                  <a:gd name="T6" fmla="*/ 844 w 1424"/>
                  <a:gd name="T7" fmla="*/ 878 h 1424"/>
                  <a:gd name="T8" fmla="*/ 879 w 1424"/>
                  <a:gd name="T9" fmla="*/ 597 h 1424"/>
                  <a:gd name="T10" fmla="*/ 906 w 1424"/>
                  <a:gd name="T11" fmla="*/ 366 h 1424"/>
                  <a:gd name="T12" fmla="*/ 924 w 1424"/>
                  <a:gd name="T13" fmla="*/ 128 h 1424"/>
                  <a:gd name="T14" fmla="*/ 1082 w 1424"/>
                  <a:gd name="T15" fmla="*/ 95 h 1424"/>
                  <a:gd name="T16" fmla="*/ 1114 w 1424"/>
                  <a:gd name="T17" fmla="*/ 169 h 1424"/>
                  <a:gd name="T18" fmla="*/ 1136 w 1424"/>
                  <a:gd name="T19" fmla="*/ 393 h 1424"/>
                  <a:gd name="T20" fmla="*/ 1163 w 1424"/>
                  <a:gd name="T21" fmla="*/ 613 h 1424"/>
                  <a:gd name="T22" fmla="*/ 1192 w 1424"/>
                  <a:gd name="T23" fmla="*/ 857 h 1424"/>
                  <a:gd name="T24" fmla="*/ 1366 w 1424"/>
                  <a:gd name="T25" fmla="*/ 771 h 1424"/>
                  <a:gd name="T26" fmla="*/ 1423 w 1424"/>
                  <a:gd name="T27" fmla="*/ 781 h 1424"/>
                  <a:gd name="T28" fmla="*/ 1424 w 1424"/>
                  <a:gd name="T29" fmla="*/ 1377 h 1424"/>
                  <a:gd name="T30" fmla="*/ 42 w 1424"/>
                  <a:gd name="T31" fmla="*/ 1424 h 1424"/>
                  <a:gd name="T32" fmla="*/ 1 w 1424"/>
                  <a:gd name="T33" fmla="*/ 1391 h 1424"/>
                  <a:gd name="T34" fmla="*/ 24 w 1424"/>
                  <a:gd name="T35" fmla="*/ 945 h 1424"/>
                  <a:gd name="T36" fmla="*/ 189 w 1424"/>
                  <a:gd name="T37" fmla="*/ 783 h 1424"/>
                  <a:gd name="T38" fmla="*/ 218 w 1424"/>
                  <a:gd name="T39" fmla="*/ 507 h 1424"/>
                  <a:gd name="T40" fmla="*/ 239 w 1424"/>
                  <a:gd name="T41" fmla="*/ 317 h 1424"/>
                  <a:gd name="T42" fmla="*/ 258 w 1424"/>
                  <a:gd name="T43" fmla="*/ 49 h 1424"/>
                  <a:gd name="T44" fmla="*/ 290 w 1424"/>
                  <a:gd name="T45" fmla="*/ 0 h 1424"/>
                  <a:gd name="T46" fmla="*/ 450 w 1424"/>
                  <a:gd name="T47" fmla="*/ 30 h 1424"/>
                  <a:gd name="T48" fmla="*/ 461 w 1424"/>
                  <a:gd name="T49" fmla="*/ 213 h 1424"/>
                  <a:gd name="T50" fmla="*/ 491 w 1424"/>
                  <a:gd name="T51" fmla="*/ 513 h 1424"/>
                  <a:gd name="T52" fmla="*/ 528 w 1424"/>
                  <a:gd name="T53" fmla="*/ 858 h 1424"/>
                  <a:gd name="T54" fmla="*/ 1374 w 1424"/>
                  <a:gd name="T55" fmla="*/ 822 h 1424"/>
                  <a:gd name="T56" fmla="*/ 1050 w 1424"/>
                  <a:gd name="T57" fmla="*/ 983 h 1424"/>
                  <a:gd name="T58" fmla="*/ 997 w 1424"/>
                  <a:gd name="T59" fmla="*/ 976 h 1424"/>
                  <a:gd name="T60" fmla="*/ 996 w 1424"/>
                  <a:gd name="T61" fmla="*/ 887 h 1424"/>
                  <a:gd name="T62" fmla="*/ 981 w 1424"/>
                  <a:gd name="T63" fmla="*/ 871 h 1424"/>
                  <a:gd name="T64" fmla="*/ 701 w 1424"/>
                  <a:gd name="T65" fmla="*/ 991 h 1424"/>
                  <a:gd name="T66" fmla="*/ 663 w 1424"/>
                  <a:gd name="T67" fmla="*/ 929 h 1424"/>
                  <a:gd name="T68" fmla="*/ 649 w 1424"/>
                  <a:gd name="T69" fmla="*/ 872 h 1424"/>
                  <a:gd name="T70" fmla="*/ 371 w 1424"/>
                  <a:gd name="T71" fmla="*/ 991 h 1424"/>
                  <a:gd name="T72" fmla="*/ 329 w 1424"/>
                  <a:gd name="T73" fmla="*/ 921 h 1424"/>
                  <a:gd name="T74" fmla="*/ 47 w 1424"/>
                  <a:gd name="T75" fmla="*/ 987 h 1424"/>
                  <a:gd name="T76" fmla="*/ 1374 w 1424"/>
                  <a:gd name="T77" fmla="*/ 1374 h 1424"/>
                  <a:gd name="T78" fmla="*/ 230 w 1424"/>
                  <a:gd name="T79" fmla="*/ 856 h 1424"/>
                  <a:gd name="T80" fmla="*/ 337 w 1424"/>
                  <a:gd name="T81" fmla="*/ 811 h 1424"/>
                  <a:gd name="T82" fmla="*/ 378 w 1424"/>
                  <a:gd name="T83" fmla="*/ 911 h 1424"/>
                  <a:gd name="T84" fmla="*/ 483 w 1424"/>
                  <a:gd name="T85" fmla="*/ 890 h 1424"/>
                  <a:gd name="T86" fmla="*/ 308 w 1424"/>
                  <a:gd name="T87" fmla="*/ 142 h 1424"/>
                  <a:gd name="T88" fmla="*/ 230 w 1424"/>
                  <a:gd name="T89" fmla="*/ 856 h 1424"/>
                  <a:gd name="T90" fmla="*/ 1069 w 1424"/>
                  <a:gd name="T91" fmla="*/ 236 h 1424"/>
                  <a:gd name="T92" fmla="*/ 951 w 1424"/>
                  <a:gd name="T93" fmla="*/ 391 h 1424"/>
                  <a:gd name="T94" fmla="*/ 913 w 1424"/>
                  <a:gd name="T95" fmla="*/ 699 h 1424"/>
                  <a:gd name="T96" fmla="*/ 921 w 1424"/>
                  <a:gd name="T97" fmla="*/ 846 h 1424"/>
                  <a:gd name="T98" fmla="*/ 1007 w 1424"/>
                  <a:gd name="T99" fmla="*/ 808 h 1424"/>
                  <a:gd name="T100" fmla="*/ 1042 w 1424"/>
                  <a:gd name="T101" fmla="*/ 911 h 1424"/>
                  <a:gd name="T102" fmla="*/ 1048 w 1424"/>
                  <a:gd name="T103" fmla="*/ 929 h 1424"/>
                  <a:gd name="T104" fmla="*/ 307 w 1424"/>
                  <a:gd name="T105" fmla="*/ 47 h 1424"/>
                  <a:gd name="T106" fmla="*/ 400 w 1424"/>
                  <a:gd name="T107" fmla="*/ 93 h 1424"/>
                  <a:gd name="T108" fmla="*/ 307 w 1424"/>
                  <a:gd name="T109" fmla="*/ 47 h 1424"/>
                  <a:gd name="T110" fmla="*/ 975 w 1424"/>
                  <a:gd name="T111" fmla="*/ 141 h 1424"/>
                  <a:gd name="T112" fmla="*/ 1063 w 1424"/>
                  <a:gd name="T113" fmla="*/ 188 h 1424"/>
                  <a:gd name="T114" fmla="*/ 1065 w 1424"/>
                  <a:gd name="T115" fmla="*/ 141 h 1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24" h="1424">
                    <a:moveTo>
                      <a:pt x="531" y="870"/>
                    </a:moveTo>
                    <a:cubicBezTo>
                      <a:pt x="575" y="851"/>
                      <a:pt x="617" y="833"/>
                      <a:pt x="659" y="815"/>
                    </a:cubicBezTo>
                    <a:cubicBezTo>
                      <a:pt x="665" y="812"/>
                      <a:pt x="671" y="809"/>
                      <a:pt x="677" y="808"/>
                    </a:cubicBezTo>
                    <a:cubicBezTo>
                      <a:pt x="697" y="803"/>
                      <a:pt x="709" y="811"/>
                      <a:pt x="711" y="831"/>
                    </a:cubicBezTo>
                    <a:cubicBezTo>
                      <a:pt x="712" y="841"/>
                      <a:pt x="711" y="851"/>
                      <a:pt x="711" y="861"/>
                    </a:cubicBezTo>
                    <a:cubicBezTo>
                      <a:pt x="711" y="884"/>
                      <a:pt x="711" y="907"/>
                      <a:pt x="711" y="934"/>
                    </a:cubicBezTo>
                    <a:cubicBezTo>
                      <a:pt x="736" y="926"/>
                      <a:pt x="757" y="916"/>
                      <a:pt x="778" y="906"/>
                    </a:cubicBezTo>
                    <a:cubicBezTo>
                      <a:pt x="800" y="897"/>
                      <a:pt x="822" y="888"/>
                      <a:pt x="844" y="878"/>
                    </a:cubicBezTo>
                    <a:cubicBezTo>
                      <a:pt x="849" y="838"/>
                      <a:pt x="853" y="798"/>
                      <a:pt x="858" y="759"/>
                    </a:cubicBezTo>
                    <a:cubicBezTo>
                      <a:pt x="865" y="705"/>
                      <a:pt x="872" y="651"/>
                      <a:pt x="879" y="597"/>
                    </a:cubicBezTo>
                    <a:cubicBezTo>
                      <a:pt x="883" y="559"/>
                      <a:pt x="887" y="521"/>
                      <a:pt x="891" y="484"/>
                    </a:cubicBezTo>
                    <a:cubicBezTo>
                      <a:pt x="896" y="444"/>
                      <a:pt x="901" y="405"/>
                      <a:pt x="906" y="366"/>
                    </a:cubicBezTo>
                    <a:cubicBezTo>
                      <a:pt x="910" y="330"/>
                      <a:pt x="914" y="294"/>
                      <a:pt x="919" y="258"/>
                    </a:cubicBezTo>
                    <a:cubicBezTo>
                      <a:pt x="925" y="215"/>
                      <a:pt x="924" y="171"/>
                      <a:pt x="924" y="128"/>
                    </a:cubicBezTo>
                    <a:cubicBezTo>
                      <a:pt x="925" y="100"/>
                      <a:pt x="930" y="95"/>
                      <a:pt x="959" y="95"/>
                    </a:cubicBezTo>
                    <a:cubicBezTo>
                      <a:pt x="1000" y="94"/>
                      <a:pt x="1041" y="94"/>
                      <a:pt x="1082" y="95"/>
                    </a:cubicBezTo>
                    <a:cubicBezTo>
                      <a:pt x="1108" y="95"/>
                      <a:pt x="1114" y="101"/>
                      <a:pt x="1114" y="128"/>
                    </a:cubicBezTo>
                    <a:cubicBezTo>
                      <a:pt x="1114" y="142"/>
                      <a:pt x="1115" y="156"/>
                      <a:pt x="1114" y="169"/>
                    </a:cubicBezTo>
                    <a:cubicBezTo>
                      <a:pt x="1113" y="205"/>
                      <a:pt x="1118" y="239"/>
                      <a:pt x="1123" y="274"/>
                    </a:cubicBezTo>
                    <a:cubicBezTo>
                      <a:pt x="1128" y="314"/>
                      <a:pt x="1131" y="353"/>
                      <a:pt x="1136" y="393"/>
                    </a:cubicBezTo>
                    <a:cubicBezTo>
                      <a:pt x="1140" y="430"/>
                      <a:pt x="1146" y="468"/>
                      <a:pt x="1150" y="505"/>
                    </a:cubicBezTo>
                    <a:cubicBezTo>
                      <a:pt x="1155" y="541"/>
                      <a:pt x="1159" y="577"/>
                      <a:pt x="1163" y="613"/>
                    </a:cubicBezTo>
                    <a:cubicBezTo>
                      <a:pt x="1168" y="656"/>
                      <a:pt x="1174" y="699"/>
                      <a:pt x="1179" y="742"/>
                    </a:cubicBezTo>
                    <a:cubicBezTo>
                      <a:pt x="1183" y="779"/>
                      <a:pt x="1187" y="817"/>
                      <a:pt x="1192" y="857"/>
                    </a:cubicBezTo>
                    <a:cubicBezTo>
                      <a:pt x="1200" y="854"/>
                      <a:pt x="1206" y="851"/>
                      <a:pt x="1212" y="848"/>
                    </a:cubicBezTo>
                    <a:cubicBezTo>
                      <a:pt x="1263" y="822"/>
                      <a:pt x="1315" y="797"/>
                      <a:pt x="1366" y="771"/>
                    </a:cubicBezTo>
                    <a:cubicBezTo>
                      <a:pt x="1374" y="767"/>
                      <a:pt x="1381" y="764"/>
                      <a:pt x="1389" y="761"/>
                    </a:cubicBezTo>
                    <a:cubicBezTo>
                      <a:pt x="1406" y="755"/>
                      <a:pt x="1421" y="764"/>
                      <a:pt x="1423" y="781"/>
                    </a:cubicBezTo>
                    <a:cubicBezTo>
                      <a:pt x="1424" y="788"/>
                      <a:pt x="1424" y="794"/>
                      <a:pt x="1424" y="801"/>
                    </a:cubicBezTo>
                    <a:cubicBezTo>
                      <a:pt x="1424" y="993"/>
                      <a:pt x="1423" y="1185"/>
                      <a:pt x="1424" y="1377"/>
                    </a:cubicBezTo>
                    <a:cubicBezTo>
                      <a:pt x="1424" y="1414"/>
                      <a:pt x="1416" y="1424"/>
                      <a:pt x="1377" y="1424"/>
                    </a:cubicBezTo>
                    <a:cubicBezTo>
                      <a:pt x="932" y="1423"/>
                      <a:pt x="487" y="1424"/>
                      <a:pt x="42" y="1424"/>
                    </a:cubicBezTo>
                    <a:cubicBezTo>
                      <a:pt x="38" y="1424"/>
                      <a:pt x="35" y="1424"/>
                      <a:pt x="31" y="1424"/>
                    </a:cubicBezTo>
                    <a:cubicBezTo>
                      <a:pt x="6" y="1422"/>
                      <a:pt x="1" y="1417"/>
                      <a:pt x="1" y="1391"/>
                    </a:cubicBezTo>
                    <a:cubicBezTo>
                      <a:pt x="0" y="1254"/>
                      <a:pt x="1" y="1117"/>
                      <a:pt x="0" y="980"/>
                    </a:cubicBezTo>
                    <a:cubicBezTo>
                      <a:pt x="0" y="961"/>
                      <a:pt x="7" y="952"/>
                      <a:pt x="24" y="945"/>
                    </a:cubicBezTo>
                    <a:cubicBezTo>
                      <a:pt x="75" y="924"/>
                      <a:pt x="126" y="901"/>
                      <a:pt x="178" y="879"/>
                    </a:cubicBezTo>
                    <a:cubicBezTo>
                      <a:pt x="182" y="847"/>
                      <a:pt x="186" y="815"/>
                      <a:pt x="189" y="783"/>
                    </a:cubicBezTo>
                    <a:cubicBezTo>
                      <a:pt x="195" y="733"/>
                      <a:pt x="200" y="684"/>
                      <a:pt x="205" y="634"/>
                    </a:cubicBezTo>
                    <a:cubicBezTo>
                      <a:pt x="210" y="592"/>
                      <a:pt x="213" y="549"/>
                      <a:pt x="218" y="507"/>
                    </a:cubicBezTo>
                    <a:cubicBezTo>
                      <a:pt x="223" y="463"/>
                      <a:pt x="228" y="419"/>
                      <a:pt x="233" y="375"/>
                    </a:cubicBezTo>
                    <a:cubicBezTo>
                      <a:pt x="235" y="356"/>
                      <a:pt x="237" y="336"/>
                      <a:pt x="239" y="317"/>
                    </a:cubicBezTo>
                    <a:cubicBezTo>
                      <a:pt x="245" y="254"/>
                      <a:pt x="252" y="192"/>
                      <a:pt x="257" y="129"/>
                    </a:cubicBezTo>
                    <a:cubicBezTo>
                      <a:pt x="259" y="103"/>
                      <a:pt x="258" y="76"/>
                      <a:pt x="258" y="49"/>
                    </a:cubicBezTo>
                    <a:cubicBezTo>
                      <a:pt x="258" y="41"/>
                      <a:pt x="257" y="34"/>
                      <a:pt x="259" y="27"/>
                    </a:cubicBezTo>
                    <a:cubicBezTo>
                      <a:pt x="263" y="8"/>
                      <a:pt x="262" y="0"/>
                      <a:pt x="290" y="0"/>
                    </a:cubicBezTo>
                    <a:cubicBezTo>
                      <a:pt x="333" y="1"/>
                      <a:pt x="377" y="0"/>
                      <a:pt x="420" y="1"/>
                    </a:cubicBezTo>
                    <a:cubicBezTo>
                      <a:pt x="443" y="1"/>
                      <a:pt x="450" y="7"/>
                      <a:pt x="450" y="30"/>
                    </a:cubicBezTo>
                    <a:cubicBezTo>
                      <a:pt x="451" y="49"/>
                      <a:pt x="451" y="67"/>
                      <a:pt x="451" y="86"/>
                    </a:cubicBezTo>
                    <a:cubicBezTo>
                      <a:pt x="449" y="129"/>
                      <a:pt x="455" y="171"/>
                      <a:pt x="461" y="213"/>
                    </a:cubicBezTo>
                    <a:cubicBezTo>
                      <a:pt x="463" y="234"/>
                      <a:pt x="465" y="255"/>
                      <a:pt x="467" y="276"/>
                    </a:cubicBezTo>
                    <a:cubicBezTo>
                      <a:pt x="475" y="355"/>
                      <a:pt x="483" y="434"/>
                      <a:pt x="491" y="513"/>
                    </a:cubicBezTo>
                    <a:cubicBezTo>
                      <a:pt x="498" y="583"/>
                      <a:pt x="505" y="653"/>
                      <a:pt x="513" y="723"/>
                    </a:cubicBezTo>
                    <a:cubicBezTo>
                      <a:pt x="518" y="768"/>
                      <a:pt x="523" y="813"/>
                      <a:pt x="528" y="858"/>
                    </a:cubicBezTo>
                    <a:cubicBezTo>
                      <a:pt x="529" y="861"/>
                      <a:pt x="530" y="865"/>
                      <a:pt x="531" y="870"/>
                    </a:cubicBezTo>
                    <a:close/>
                    <a:moveTo>
                      <a:pt x="1374" y="822"/>
                    </a:moveTo>
                    <a:cubicBezTo>
                      <a:pt x="1364" y="827"/>
                      <a:pt x="1357" y="830"/>
                      <a:pt x="1351" y="833"/>
                    </a:cubicBezTo>
                    <a:cubicBezTo>
                      <a:pt x="1251" y="883"/>
                      <a:pt x="1150" y="933"/>
                      <a:pt x="1050" y="983"/>
                    </a:cubicBezTo>
                    <a:cubicBezTo>
                      <a:pt x="1043" y="987"/>
                      <a:pt x="1036" y="991"/>
                      <a:pt x="1028" y="994"/>
                    </a:cubicBezTo>
                    <a:cubicBezTo>
                      <a:pt x="1013" y="999"/>
                      <a:pt x="1000" y="991"/>
                      <a:pt x="997" y="976"/>
                    </a:cubicBezTo>
                    <a:cubicBezTo>
                      <a:pt x="996" y="971"/>
                      <a:pt x="996" y="965"/>
                      <a:pt x="996" y="959"/>
                    </a:cubicBezTo>
                    <a:cubicBezTo>
                      <a:pt x="996" y="935"/>
                      <a:pt x="996" y="911"/>
                      <a:pt x="996" y="887"/>
                    </a:cubicBezTo>
                    <a:cubicBezTo>
                      <a:pt x="996" y="881"/>
                      <a:pt x="995" y="875"/>
                      <a:pt x="994" y="868"/>
                    </a:cubicBezTo>
                    <a:cubicBezTo>
                      <a:pt x="988" y="869"/>
                      <a:pt x="985" y="870"/>
                      <a:pt x="981" y="871"/>
                    </a:cubicBezTo>
                    <a:cubicBezTo>
                      <a:pt x="938" y="890"/>
                      <a:pt x="895" y="908"/>
                      <a:pt x="852" y="927"/>
                    </a:cubicBezTo>
                    <a:cubicBezTo>
                      <a:pt x="801" y="948"/>
                      <a:pt x="751" y="970"/>
                      <a:pt x="701" y="991"/>
                    </a:cubicBezTo>
                    <a:cubicBezTo>
                      <a:pt x="679" y="1000"/>
                      <a:pt x="665" y="991"/>
                      <a:pt x="663" y="968"/>
                    </a:cubicBezTo>
                    <a:cubicBezTo>
                      <a:pt x="662" y="955"/>
                      <a:pt x="663" y="942"/>
                      <a:pt x="663" y="929"/>
                    </a:cubicBezTo>
                    <a:cubicBezTo>
                      <a:pt x="663" y="909"/>
                      <a:pt x="663" y="889"/>
                      <a:pt x="663" y="867"/>
                    </a:cubicBezTo>
                    <a:cubicBezTo>
                      <a:pt x="656" y="869"/>
                      <a:pt x="652" y="870"/>
                      <a:pt x="649" y="872"/>
                    </a:cubicBezTo>
                    <a:cubicBezTo>
                      <a:pt x="601" y="892"/>
                      <a:pt x="554" y="912"/>
                      <a:pt x="506" y="933"/>
                    </a:cubicBezTo>
                    <a:cubicBezTo>
                      <a:pt x="461" y="952"/>
                      <a:pt x="416" y="972"/>
                      <a:pt x="371" y="991"/>
                    </a:cubicBezTo>
                    <a:cubicBezTo>
                      <a:pt x="346" y="1001"/>
                      <a:pt x="330" y="991"/>
                      <a:pt x="330" y="963"/>
                    </a:cubicBezTo>
                    <a:cubicBezTo>
                      <a:pt x="329" y="949"/>
                      <a:pt x="330" y="935"/>
                      <a:pt x="329" y="921"/>
                    </a:cubicBezTo>
                    <a:cubicBezTo>
                      <a:pt x="329" y="904"/>
                      <a:pt x="332" y="886"/>
                      <a:pt x="327" y="867"/>
                    </a:cubicBezTo>
                    <a:cubicBezTo>
                      <a:pt x="232" y="908"/>
                      <a:pt x="139" y="948"/>
                      <a:pt x="47" y="987"/>
                    </a:cubicBezTo>
                    <a:cubicBezTo>
                      <a:pt x="47" y="1117"/>
                      <a:pt x="47" y="1245"/>
                      <a:pt x="47" y="1374"/>
                    </a:cubicBezTo>
                    <a:cubicBezTo>
                      <a:pt x="490" y="1374"/>
                      <a:pt x="931" y="1374"/>
                      <a:pt x="1374" y="1374"/>
                    </a:cubicBezTo>
                    <a:cubicBezTo>
                      <a:pt x="1374" y="1190"/>
                      <a:pt x="1374" y="1008"/>
                      <a:pt x="1374" y="822"/>
                    </a:cubicBezTo>
                    <a:close/>
                    <a:moveTo>
                      <a:pt x="230" y="856"/>
                    </a:moveTo>
                    <a:cubicBezTo>
                      <a:pt x="237" y="853"/>
                      <a:pt x="241" y="852"/>
                      <a:pt x="245" y="850"/>
                    </a:cubicBezTo>
                    <a:cubicBezTo>
                      <a:pt x="276" y="837"/>
                      <a:pt x="306" y="824"/>
                      <a:pt x="337" y="811"/>
                    </a:cubicBezTo>
                    <a:cubicBezTo>
                      <a:pt x="365" y="800"/>
                      <a:pt x="378" y="809"/>
                      <a:pt x="378" y="838"/>
                    </a:cubicBezTo>
                    <a:cubicBezTo>
                      <a:pt x="379" y="862"/>
                      <a:pt x="378" y="886"/>
                      <a:pt x="378" y="911"/>
                    </a:cubicBezTo>
                    <a:cubicBezTo>
                      <a:pt x="378" y="918"/>
                      <a:pt x="379" y="926"/>
                      <a:pt x="380" y="935"/>
                    </a:cubicBezTo>
                    <a:cubicBezTo>
                      <a:pt x="416" y="919"/>
                      <a:pt x="450" y="905"/>
                      <a:pt x="483" y="890"/>
                    </a:cubicBezTo>
                    <a:cubicBezTo>
                      <a:pt x="457" y="639"/>
                      <a:pt x="430" y="391"/>
                      <a:pt x="404" y="142"/>
                    </a:cubicBezTo>
                    <a:cubicBezTo>
                      <a:pt x="371" y="142"/>
                      <a:pt x="340" y="142"/>
                      <a:pt x="308" y="142"/>
                    </a:cubicBezTo>
                    <a:cubicBezTo>
                      <a:pt x="306" y="145"/>
                      <a:pt x="304" y="148"/>
                      <a:pt x="304" y="152"/>
                    </a:cubicBezTo>
                    <a:cubicBezTo>
                      <a:pt x="279" y="386"/>
                      <a:pt x="254" y="619"/>
                      <a:pt x="230" y="856"/>
                    </a:cubicBezTo>
                    <a:close/>
                    <a:moveTo>
                      <a:pt x="1147" y="881"/>
                    </a:moveTo>
                    <a:cubicBezTo>
                      <a:pt x="1121" y="666"/>
                      <a:pt x="1095" y="451"/>
                      <a:pt x="1069" y="236"/>
                    </a:cubicBezTo>
                    <a:cubicBezTo>
                      <a:pt x="1034" y="236"/>
                      <a:pt x="1002" y="236"/>
                      <a:pt x="969" y="236"/>
                    </a:cubicBezTo>
                    <a:cubicBezTo>
                      <a:pt x="963" y="289"/>
                      <a:pt x="957" y="340"/>
                      <a:pt x="951" y="391"/>
                    </a:cubicBezTo>
                    <a:cubicBezTo>
                      <a:pt x="945" y="443"/>
                      <a:pt x="939" y="494"/>
                      <a:pt x="932" y="545"/>
                    </a:cubicBezTo>
                    <a:cubicBezTo>
                      <a:pt x="926" y="597"/>
                      <a:pt x="919" y="648"/>
                      <a:pt x="913" y="699"/>
                    </a:cubicBezTo>
                    <a:cubicBezTo>
                      <a:pt x="908" y="750"/>
                      <a:pt x="900" y="801"/>
                      <a:pt x="897" y="854"/>
                    </a:cubicBezTo>
                    <a:cubicBezTo>
                      <a:pt x="907" y="851"/>
                      <a:pt x="914" y="849"/>
                      <a:pt x="921" y="846"/>
                    </a:cubicBezTo>
                    <a:cubicBezTo>
                      <a:pt x="945" y="835"/>
                      <a:pt x="970" y="825"/>
                      <a:pt x="994" y="814"/>
                    </a:cubicBezTo>
                    <a:cubicBezTo>
                      <a:pt x="999" y="812"/>
                      <a:pt x="1003" y="810"/>
                      <a:pt x="1007" y="808"/>
                    </a:cubicBezTo>
                    <a:cubicBezTo>
                      <a:pt x="1029" y="802"/>
                      <a:pt x="1041" y="810"/>
                      <a:pt x="1042" y="833"/>
                    </a:cubicBezTo>
                    <a:cubicBezTo>
                      <a:pt x="1042" y="859"/>
                      <a:pt x="1042" y="885"/>
                      <a:pt x="1042" y="911"/>
                    </a:cubicBezTo>
                    <a:cubicBezTo>
                      <a:pt x="1042" y="917"/>
                      <a:pt x="1043" y="923"/>
                      <a:pt x="1044" y="929"/>
                    </a:cubicBezTo>
                    <a:cubicBezTo>
                      <a:pt x="1046" y="929"/>
                      <a:pt x="1047" y="930"/>
                      <a:pt x="1048" y="929"/>
                    </a:cubicBezTo>
                    <a:cubicBezTo>
                      <a:pt x="1080" y="914"/>
                      <a:pt x="1113" y="898"/>
                      <a:pt x="1147" y="881"/>
                    </a:cubicBezTo>
                    <a:close/>
                    <a:moveTo>
                      <a:pt x="307" y="47"/>
                    </a:moveTo>
                    <a:cubicBezTo>
                      <a:pt x="307" y="64"/>
                      <a:pt x="304" y="79"/>
                      <a:pt x="309" y="93"/>
                    </a:cubicBezTo>
                    <a:cubicBezTo>
                      <a:pt x="340" y="93"/>
                      <a:pt x="370" y="93"/>
                      <a:pt x="400" y="93"/>
                    </a:cubicBezTo>
                    <a:cubicBezTo>
                      <a:pt x="400" y="77"/>
                      <a:pt x="400" y="62"/>
                      <a:pt x="400" y="47"/>
                    </a:cubicBezTo>
                    <a:cubicBezTo>
                      <a:pt x="369" y="47"/>
                      <a:pt x="340" y="47"/>
                      <a:pt x="307" y="47"/>
                    </a:cubicBezTo>
                    <a:close/>
                    <a:moveTo>
                      <a:pt x="1065" y="141"/>
                    </a:moveTo>
                    <a:cubicBezTo>
                      <a:pt x="1033" y="141"/>
                      <a:pt x="1004" y="141"/>
                      <a:pt x="975" y="141"/>
                    </a:cubicBezTo>
                    <a:cubicBezTo>
                      <a:pt x="975" y="158"/>
                      <a:pt x="975" y="173"/>
                      <a:pt x="975" y="188"/>
                    </a:cubicBezTo>
                    <a:cubicBezTo>
                      <a:pt x="1005" y="188"/>
                      <a:pt x="1034" y="188"/>
                      <a:pt x="1063" y="188"/>
                    </a:cubicBezTo>
                    <a:cubicBezTo>
                      <a:pt x="1064" y="183"/>
                      <a:pt x="1065" y="180"/>
                      <a:pt x="1065" y="177"/>
                    </a:cubicBezTo>
                    <a:cubicBezTo>
                      <a:pt x="1065" y="166"/>
                      <a:pt x="1065" y="155"/>
                      <a:pt x="1065" y="141"/>
                    </a:cubicBezTo>
                    <a:close/>
                  </a:path>
                </a:pathLst>
              </a:custGeom>
              <a:solidFill>
                <a:srgbClr val="100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64" name="Freeform 30">
                <a:extLst>
                  <a:ext uri="{FF2B5EF4-FFF2-40B4-BE49-F238E27FC236}">
                    <a16:creationId xmlns:a16="http://schemas.microsoft.com/office/drawing/2014/main" id="{7F00F9F6-7299-4515-985D-620B4CE508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48013" y="1727200"/>
                <a:ext cx="61913" cy="63500"/>
              </a:xfrm>
              <a:custGeom>
                <a:avLst/>
                <a:gdLst>
                  <a:gd name="T0" fmla="*/ 97 w 193"/>
                  <a:gd name="T1" fmla="*/ 190 h 191"/>
                  <a:gd name="T2" fmla="*/ 33 w 193"/>
                  <a:gd name="T3" fmla="*/ 190 h 191"/>
                  <a:gd name="T4" fmla="*/ 1 w 193"/>
                  <a:gd name="T5" fmla="*/ 161 h 191"/>
                  <a:gd name="T6" fmla="*/ 1 w 193"/>
                  <a:gd name="T7" fmla="*/ 28 h 191"/>
                  <a:gd name="T8" fmla="*/ 29 w 193"/>
                  <a:gd name="T9" fmla="*/ 1 h 191"/>
                  <a:gd name="T10" fmla="*/ 162 w 193"/>
                  <a:gd name="T11" fmla="*/ 1 h 191"/>
                  <a:gd name="T12" fmla="*/ 192 w 193"/>
                  <a:gd name="T13" fmla="*/ 35 h 191"/>
                  <a:gd name="T14" fmla="*/ 193 w 193"/>
                  <a:gd name="T15" fmla="*/ 126 h 191"/>
                  <a:gd name="T16" fmla="*/ 193 w 193"/>
                  <a:gd name="T17" fmla="*/ 157 h 191"/>
                  <a:gd name="T18" fmla="*/ 158 w 193"/>
                  <a:gd name="T19" fmla="*/ 190 h 191"/>
                  <a:gd name="T20" fmla="*/ 97 w 193"/>
                  <a:gd name="T21" fmla="*/ 190 h 191"/>
                  <a:gd name="T22" fmla="*/ 50 w 193"/>
                  <a:gd name="T23" fmla="*/ 142 h 191"/>
                  <a:gd name="T24" fmla="*/ 144 w 193"/>
                  <a:gd name="T25" fmla="*/ 141 h 191"/>
                  <a:gd name="T26" fmla="*/ 144 w 193"/>
                  <a:gd name="T27" fmla="*/ 94 h 191"/>
                  <a:gd name="T28" fmla="*/ 144 w 193"/>
                  <a:gd name="T29" fmla="*/ 50 h 191"/>
                  <a:gd name="T30" fmla="*/ 50 w 193"/>
                  <a:gd name="T31" fmla="*/ 51 h 191"/>
                  <a:gd name="T32" fmla="*/ 50 w 193"/>
                  <a:gd name="T33" fmla="*/ 142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3" h="191">
                    <a:moveTo>
                      <a:pt x="97" y="190"/>
                    </a:moveTo>
                    <a:cubicBezTo>
                      <a:pt x="76" y="190"/>
                      <a:pt x="55" y="191"/>
                      <a:pt x="33" y="190"/>
                    </a:cubicBezTo>
                    <a:cubicBezTo>
                      <a:pt x="11" y="190"/>
                      <a:pt x="2" y="183"/>
                      <a:pt x="1" y="161"/>
                    </a:cubicBezTo>
                    <a:cubicBezTo>
                      <a:pt x="0" y="117"/>
                      <a:pt x="0" y="72"/>
                      <a:pt x="1" y="28"/>
                    </a:cubicBezTo>
                    <a:cubicBezTo>
                      <a:pt x="2" y="9"/>
                      <a:pt x="10" y="1"/>
                      <a:pt x="29" y="1"/>
                    </a:cubicBezTo>
                    <a:cubicBezTo>
                      <a:pt x="73" y="0"/>
                      <a:pt x="118" y="0"/>
                      <a:pt x="162" y="1"/>
                    </a:cubicBezTo>
                    <a:cubicBezTo>
                      <a:pt x="185" y="1"/>
                      <a:pt x="192" y="9"/>
                      <a:pt x="192" y="35"/>
                    </a:cubicBezTo>
                    <a:cubicBezTo>
                      <a:pt x="193" y="65"/>
                      <a:pt x="193" y="96"/>
                      <a:pt x="193" y="126"/>
                    </a:cubicBezTo>
                    <a:cubicBezTo>
                      <a:pt x="193" y="137"/>
                      <a:pt x="193" y="147"/>
                      <a:pt x="193" y="157"/>
                    </a:cubicBezTo>
                    <a:cubicBezTo>
                      <a:pt x="191" y="181"/>
                      <a:pt x="182" y="190"/>
                      <a:pt x="158" y="190"/>
                    </a:cubicBezTo>
                    <a:cubicBezTo>
                      <a:pt x="138" y="191"/>
                      <a:pt x="118" y="190"/>
                      <a:pt x="97" y="190"/>
                    </a:cubicBezTo>
                    <a:close/>
                    <a:moveTo>
                      <a:pt x="50" y="142"/>
                    </a:moveTo>
                    <a:cubicBezTo>
                      <a:pt x="83" y="141"/>
                      <a:pt x="113" y="143"/>
                      <a:pt x="144" y="141"/>
                    </a:cubicBezTo>
                    <a:cubicBezTo>
                      <a:pt x="144" y="124"/>
                      <a:pt x="144" y="109"/>
                      <a:pt x="144" y="94"/>
                    </a:cubicBezTo>
                    <a:cubicBezTo>
                      <a:pt x="144" y="80"/>
                      <a:pt x="144" y="65"/>
                      <a:pt x="144" y="50"/>
                    </a:cubicBezTo>
                    <a:cubicBezTo>
                      <a:pt x="111" y="50"/>
                      <a:pt x="81" y="49"/>
                      <a:pt x="50" y="51"/>
                    </a:cubicBezTo>
                    <a:cubicBezTo>
                      <a:pt x="50" y="82"/>
                      <a:pt x="50" y="110"/>
                      <a:pt x="50" y="142"/>
                    </a:cubicBezTo>
                    <a:close/>
                  </a:path>
                </a:pathLst>
              </a:custGeom>
              <a:solidFill>
                <a:srgbClr val="00BF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65" name="Freeform 31">
                <a:extLst>
                  <a:ext uri="{FF2B5EF4-FFF2-40B4-BE49-F238E27FC236}">
                    <a16:creationId xmlns:a16="http://schemas.microsoft.com/office/drawing/2014/main" id="{344189A9-FD49-4D91-B836-4ED1F3445F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3900" y="1727200"/>
                <a:ext cx="63500" cy="63500"/>
              </a:xfrm>
              <a:custGeom>
                <a:avLst/>
                <a:gdLst>
                  <a:gd name="T0" fmla="*/ 94 w 193"/>
                  <a:gd name="T1" fmla="*/ 190 h 191"/>
                  <a:gd name="T2" fmla="*/ 33 w 193"/>
                  <a:gd name="T3" fmla="*/ 190 h 191"/>
                  <a:gd name="T4" fmla="*/ 2 w 193"/>
                  <a:gd name="T5" fmla="*/ 161 h 191"/>
                  <a:gd name="T6" fmla="*/ 1 w 193"/>
                  <a:gd name="T7" fmla="*/ 28 h 191"/>
                  <a:gd name="T8" fmla="*/ 30 w 193"/>
                  <a:gd name="T9" fmla="*/ 1 h 191"/>
                  <a:gd name="T10" fmla="*/ 163 w 193"/>
                  <a:gd name="T11" fmla="*/ 1 h 191"/>
                  <a:gd name="T12" fmla="*/ 192 w 193"/>
                  <a:gd name="T13" fmla="*/ 27 h 191"/>
                  <a:gd name="T14" fmla="*/ 193 w 193"/>
                  <a:gd name="T15" fmla="*/ 41 h 191"/>
                  <a:gd name="T16" fmla="*/ 193 w 193"/>
                  <a:gd name="T17" fmla="*/ 152 h 191"/>
                  <a:gd name="T18" fmla="*/ 191 w 193"/>
                  <a:gd name="T19" fmla="*/ 168 h 191"/>
                  <a:gd name="T20" fmla="*/ 164 w 193"/>
                  <a:gd name="T21" fmla="*/ 190 h 191"/>
                  <a:gd name="T22" fmla="*/ 94 w 193"/>
                  <a:gd name="T23" fmla="*/ 190 h 191"/>
                  <a:gd name="T24" fmla="*/ 144 w 193"/>
                  <a:gd name="T25" fmla="*/ 141 h 191"/>
                  <a:gd name="T26" fmla="*/ 144 w 193"/>
                  <a:gd name="T27" fmla="*/ 65 h 191"/>
                  <a:gd name="T28" fmla="*/ 143 w 193"/>
                  <a:gd name="T29" fmla="*/ 51 h 191"/>
                  <a:gd name="T30" fmla="*/ 51 w 193"/>
                  <a:gd name="T31" fmla="*/ 51 h 191"/>
                  <a:gd name="T32" fmla="*/ 51 w 193"/>
                  <a:gd name="T33" fmla="*/ 141 h 191"/>
                  <a:gd name="T34" fmla="*/ 144 w 193"/>
                  <a:gd name="T35" fmla="*/ 14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3" h="191">
                    <a:moveTo>
                      <a:pt x="94" y="190"/>
                    </a:moveTo>
                    <a:cubicBezTo>
                      <a:pt x="74" y="190"/>
                      <a:pt x="53" y="191"/>
                      <a:pt x="33" y="190"/>
                    </a:cubicBezTo>
                    <a:cubicBezTo>
                      <a:pt x="11" y="190"/>
                      <a:pt x="2" y="183"/>
                      <a:pt x="2" y="161"/>
                    </a:cubicBezTo>
                    <a:cubicBezTo>
                      <a:pt x="0" y="116"/>
                      <a:pt x="1" y="72"/>
                      <a:pt x="1" y="28"/>
                    </a:cubicBezTo>
                    <a:cubicBezTo>
                      <a:pt x="2" y="9"/>
                      <a:pt x="11" y="1"/>
                      <a:pt x="30" y="1"/>
                    </a:cubicBezTo>
                    <a:cubicBezTo>
                      <a:pt x="74" y="0"/>
                      <a:pt x="118" y="0"/>
                      <a:pt x="163" y="1"/>
                    </a:cubicBezTo>
                    <a:cubicBezTo>
                      <a:pt x="182" y="1"/>
                      <a:pt x="189" y="8"/>
                      <a:pt x="192" y="27"/>
                    </a:cubicBezTo>
                    <a:cubicBezTo>
                      <a:pt x="193" y="31"/>
                      <a:pt x="193" y="36"/>
                      <a:pt x="193" y="41"/>
                    </a:cubicBezTo>
                    <a:cubicBezTo>
                      <a:pt x="193" y="78"/>
                      <a:pt x="193" y="115"/>
                      <a:pt x="193" y="152"/>
                    </a:cubicBezTo>
                    <a:cubicBezTo>
                      <a:pt x="193" y="157"/>
                      <a:pt x="192" y="163"/>
                      <a:pt x="191" y="168"/>
                    </a:cubicBezTo>
                    <a:cubicBezTo>
                      <a:pt x="187" y="184"/>
                      <a:pt x="180" y="190"/>
                      <a:pt x="164" y="190"/>
                    </a:cubicBezTo>
                    <a:cubicBezTo>
                      <a:pt x="140" y="191"/>
                      <a:pt x="117" y="190"/>
                      <a:pt x="94" y="190"/>
                    </a:cubicBezTo>
                    <a:close/>
                    <a:moveTo>
                      <a:pt x="144" y="141"/>
                    </a:moveTo>
                    <a:cubicBezTo>
                      <a:pt x="144" y="114"/>
                      <a:pt x="144" y="89"/>
                      <a:pt x="144" y="65"/>
                    </a:cubicBezTo>
                    <a:cubicBezTo>
                      <a:pt x="144" y="60"/>
                      <a:pt x="143" y="56"/>
                      <a:pt x="143" y="51"/>
                    </a:cubicBezTo>
                    <a:cubicBezTo>
                      <a:pt x="112" y="51"/>
                      <a:pt x="82" y="51"/>
                      <a:pt x="51" y="51"/>
                    </a:cubicBezTo>
                    <a:cubicBezTo>
                      <a:pt x="51" y="82"/>
                      <a:pt x="51" y="111"/>
                      <a:pt x="51" y="141"/>
                    </a:cubicBezTo>
                    <a:cubicBezTo>
                      <a:pt x="82" y="141"/>
                      <a:pt x="111" y="141"/>
                      <a:pt x="144" y="141"/>
                    </a:cubicBezTo>
                    <a:close/>
                  </a:path>
                </a:pathLst>
              </a:custGeom>
              <a:solidFill>
                <a:srgbClr val="00BF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66" name="Freeform 32">
                <a:extLst>
                  <a:ext uri="{FF2B5EF4-FFF2-40B4-BE49-F238E27FC236}">
                    <a16:creationId xmlns:a16="http://schemas.microsoft.com/office/drawing/2014/main" id="{F57E233F-3982-4396-9BDF-4D313562103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73438" y="1727200"/>
                <a:ext cx="61913" cy="63500"/>
              </a:xfrm>
              <a:custGeom>
                <a:avLst/>
                <a:gdLst>
                  <a:gd name="T0" fmla="*/ 97 w 190"/>
                  <a:gd name="T1" fmla="*/ 190 h 191"/>
                  <a:gd name="T2" fmla="*/ 33 w 190"/>
                  <a:gd name="T3" fmla="*/ 190 h 191"/>
                  <a:gd name="T4" fmla="*/ 0 w 190"/>
                  <a:gd name="T5" fmla="*/ 160 h 191"/>
                  <a:gd name="T6" fmla="*/ 0 w 190"/>
                  <a:gd name="T7" fmla="*/ 32 h 191"/>
                  <a:gd name="T8" fmla="*/ 32 w 190"/>
                  <a:gd name="T9" fmla="*/ 1 h 191"/>
                  <a:gd name="T10" fmla="*/ 157 w 190"/>
                  <a:gd name="T11" fmla="*/ 1 h 191"/>
                  <a:gd name="T12" fmla="*/ 189 w 190"/>
                  <a:gd name="T13" fmla="*/ 34 h 191"/>
                  <a:gd name="T14" fmla="*/ 189 w 190"/>
                  <a:gd name="T15" fmla="*/ 159 h 191"/>
                  <a:gd name="T16" fmla="*/ 158 w 190"/>
                  <a:gd name="T17" fmla="*/ 190 h 191"/>
                  <a:gd name="T18" fmla="*/ 97 w 190"/>
                  <a:gd name="T19" fmla="*/ 190 h 191"/>
                  <a:gd name="T20" fmla="*/ 53 w 190"/>
                  <a:gd name="T21" fmla="*/ 51 h 191"/>
                  <a:gd name="T22" fmla="*/ 53 w 190"/>
                  <a:gd name="T23" fmla="*/ 142 h 191"/>
                  <a:gd name="T24" fmla="*/ 142 w 190"/>
                  <a:gd name="T25" fmla="*/ 140 h 191"/>
                  <a:gd name="T26" fmla="*/ 142 w 190"/>
                  <a:gd name="T27" fmla="*/ 51 h 191"/>
                  <a:gd name="T28" fmla="*/ 53 w 190"/>
                  <a:gd name="T29" fmla="*/ 5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91">
                    <a:moveTo>
                      <a:pt x="97" y="190"/>
                    </a:moveTo>
                    <a:cubicBezTo>
                      <a:pt x="75" y="190"/>
                      <a:pt x="54" y="191"/>
                      <a:pt x="33" y="190"/>
                    </a:cubicBezTo>
                    <a:cubicBezTo>
                      <a:pt x="8" y="190"/>
                      <a:pt x="1" y="183"/>
                      <a:pt x="0" y="160"/>
                    </a:cubicBezTo>
                    <a:cubicBezTo>
                      <a:pt x="0" y="117"/>
                      <a:pt x="0" y="75"/>
                      <a:pt x="0" y="32"/>
                    </a:cubicBezTo>
                    <a:cubicBezTo>
                      <a:pt x="1" y="8"/>
                      <a:pt x="8" y="1"/>
                      <a:pt x="32" y="1"/>
                    </a:cubicBezTo>
                    <a:cubicBezTo>
                      <a:pt x="74" y="0"/>
                      <a:pt x="115" y="0"/>
                      <a:pt x="157" y="1"/>
                    </a:cubicBezTo>
                    <a:cubicBezTo>
                      <a:pt x="183" y="1"/>
                      <a:pt x="189" y="7"/>
                      <a:pt x="189" y="34"/>
                    </a:cubicBezTo>
                    <a:cubicBezTo>
                      <a:pt x="190" y="76"/>
                      <a:pt x="190" y="117"/>
                      <a:pt x="189" y="159"/>
                    </a:cubicBezTo>
                    <a:cubicBezTo>
                      <a:pt x="189" y="184"/>
                      <a:pt x="183" y="190"/>
                      <a:pt x="158" y="190"/>
                    </a:cubicBezTo>
                    <a:cubicBezTo>
                      <a:pt x="137" y="191"/>
                      <a:pt x="117" y="190"/>
                      <a:pt x="97" y="190"/>
                    </a:cubicBezTo>
                    <a:close/>
                    <a:moveTo>
                      <a:pt x="53" y="51"/>
                    </a:moveTo>
                    <a:cubicBezTo>
                      <a:pt x="48" y="70"/>
                      <a:pt x="47" y="116"/>
                      <a:pt x="53" y="142"/>
                    </a:cubicBezTo>
                    <a:cubicBezTo>
                      <a:pt x="82" y="140"/>
                      <a:pt x="112" y="145"/>
                      <a:pt x="142" y="140"/>
                    </a:cubicBezTo>
                    <a:cubicBezTo>
                      <a:pt x="142" y="109"/>
                      <a:pt x="142" y="81"/>
                      <a:pt x="142" y="51"/>
                    </a:cubicBezTo>
                    <a:cubicBezTo>
                      <a:pt x="112" y="51"/>
                      <a:pt x="82" y="51"/>
                      <a:pt x="53" y="51"/>
                    </a:cubicBezTo>
                    <a:close/>
                  </a:path>
                </a:pathLst>
              </a:custGeom>
              <a:solidFill>
                <a:srgbClr val="00BF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67" name="Freeform 33">
                <a:extLst>
                  <a:ext uri="{FF2B5EF4-FFF2-40B4-BE49-F238E27FC236}">
                    <a16:creationId xmlns:a16="http://schemas.microsoft.com/office/drawing/2014/main" id="{C4FF30FF-DC7C-4C0F-82BE-A672D3715D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38475" y="1727200"/>
                <a:ext cx="63500" cy="63500"/>
              </a:xfrm>
              <a:custGeom>
                <a:avLst/>
                <a:gdLst>
                  <a:gd name="T0" fmla="*/ 0 w 190"/>
                  <a:gd name="T1" fmla="*/ 96 h 191"/>
                  <a:gd name="T2" fmla="*/ 1 w 190"/>
                  <a:gd name="T3" fmla="*/ 29 h 191"/>
                  <a:gd name="T4" fmla="*/ 29 w 190"/>
                  <a:gd name="T5" fmla="*/ 1 h 191"/>
                  <a:gd name="T6" fmla="*/ 159 w 190"/>
                  <a:gd name="T7" fmla="*/ 1 h 191"/>
                  <a:gd name="T8" fmla="*/ 189 w 190"/>
                  <a:gd name="T9" fmla="*/ 31 h 191"/>
                  <a:gd name="T10" fmla="*/ 190 w 190"/>
                  <a:gd name="T11" fmla="*/ 159 h 191"/>
                  <a:gd name="T12" fmla="*/ 157 w 190"/>
                  <a:gd name="T13" fmla="*/ 190 h 191"/>
                  <a:gd name="T14" fmla="*/ 30 w 190"/>
                  <a:gd name="T15" fmla="*/ 190 h 191"/>
                  <a:gd name="T16" fmla="*/ 1 w 190"/>
                  <a:gd name="T17" fmla="*/ 160 h 191"/>
                  <a:gd name="T18" fmla="*/ 0 w 190"/>
                  <a:gd name="T19" fmla="*/ 96 h 191"/>
                  <a:gd name="T20" fmla="*/ 140 w 190"/>
                  <a:gd name="T21" fmla="*/ 51 h 191"/>
                  <a:gd name="T22" fmla="*/ 48 w 190"/>
                  <a:gd name="T23" fmla="*/ 51 h 191"/>
                  <a:gd name="T24" fmla="*/ 48 w 190"/>
                  <a:gd name="T25" fmla="*/ 142 h 191"/>
                  <a:gd name="T26" fmla="*/ 140 w 190"/>
                  <a:gd name="T27" fmla="*/ 140 h 191"/>
                  <a:gd name="T28" fmla="*/ 140 w 190"/>
                  <a:gd name="T29" fmla="*/ 5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91">
                    <a:moveTo>
                      <a:pt x="0" y="96"/>
                    </a:moveTo>
                    <a:cubicBezTo>
                      <a:pt x="0" y="74"/>
                      <a:pt x="0" y="51"/>
                      <a:pt x="1" y="29"/>
                    </a:cubicBezTo>
                    <a:cubicBezTo>
                      <a:pt x="1" y="8"/>
                      <a:pt x="8" y="1"/>
                      <a:pt x="29" y="1"/>
                    </a:cubicBezTo>
                    <a:cubicBezTo>
                      <a:pt x="72" y="0"/>
                      <a:pt x="116" y="0"/>
                      <a:pt x="159" y="1"/>
                    </a:cubicBezTo>
                    <a:cubicBezTo>
                      <a:pt x="181" y="1"/>
                      <a:pt x="189" y="9"/>
                      <a:pt x="189" y="31"/>
                    </a:cubicBezTo>
                    <a:cubicBezTo>
                      <a:pt x="190" y="74"/>
                      <a:pt x="190" y="116"/>
                      <a:pt x="190" y="159"/>
                    </a:cubicBezTo>
                    <a:cubicBezTo>
                      <a:pt x="189" y="182"/>
                      <a:pt x="181" y="190"/>
                      <a:pt x="157" y="190"/>
                    </a:cubicBezTo>
                    <a:cubicBezTo>
                      <a:pt x="115" y="191"/>
                      <a:pt x="72" y="191"/>
                      <a:pt x="30" y="190"/>
                    </a:cubicBezTo>
                    <a:cubicBezTo>
                      <a:pt x="7" y="190"/>
                      <a:pt x="1" y="183"/>
                      <a:pt x="1" y="160"/>
                    </a:cubicBezTo>
                    <a:cubicBezTo>
                      <a:pt x="0" y="138"/>
                      <a:pt x="0" y="117"/>
                      <a:pt x="0" y="96"/>
                    </a:cubicBezTo>
                    <a:close/>
                    <a:moveTo>
                      <a:pt x="140" y="51"/>
                    </a:moveTo>
                    <a:cubicBezTo>
                      <a:pt x="108" y="51"/>
                      <a:pt x="78" y="51"/>
                      <a:pt x="48" y="51"/>
                    </a:cubicBezTo>
                    <a:cubicBezTo>
                      <a:pt x="48" y="82"/>
                      <a:pt x="48" y="111"/>
                      <a:pt x="48" y="142"/>
                    </a:cubicBezTo>
                    <a:cubicBezTo>
                      <a:pt x="79" y="141"/>
                      <a:pt x="109" y="144"/>
                      <a:pt x="140" y="140"/>
                    </a:cubicBezTo>
                    <a:cubicBezTo>
                      <a:pt x="140" y="110"/>
                      <a:pt x="140" y="81"/>
                      <a:pt x="140" y="51"/>
                    </a:cubicBezTo>
                    <a:close/>
                  </a:path>
                </a:pathLst>
              </a:custGeom>
              <a:solidFill>
                <a:srgbClr val="00BF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ACFA480-2B75-4E1A-B23E-E653DA7E4E2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20643" y="4022399"/>
              <a:ext cx="252801" cy="334558"/>
              <a:chOff x="644525" y="1387475"/>
              <a:chExt cx="373063" cy="493713"/>
            </a:xfrm>
          </p:grpSpPr>
          <p:sp>
            <p:nvSpPr>
              <p:cNvPr id="53" name="Freeform 65">
                <a:extLst>
                  <a:ext uri="{FF2B5EF4-FFF2-40B4-BE49-F238E27FC236}">
                    <a16:creationId xmlns:a16="http://schemas.microsoft.com/office/drawing/2014/main" id="{13F52ADB-B74A-4A44-B180-AA63CE5735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4525" y="1387475"/>
                <a:ext cx="373063" cy="493713"/>
              </a:xfrm>
              <a:custGeom>
                <a:avLst/>
                <a:gdLst>
                  <a:gd name="T0" fmla="*/ 235 w 235"/>
                  <a:gd name="T1" fmla="*/ 311 h 311"/>
                  <a:gd name="T2" fmla="*/ 128 w 235"/>
                  <a:gd name="T3" fmla="*/ 311 h 311"/>
                  <a:gd name="T4" fmla="*/ 128 w 235"/>
                  <a:gd name="T5" fmla="*/ 276 h 311"/>
                  <a:gd name="T6" fmla="*/ 106 w 235"/>
                  <a:gd name="T7" fmla="*/ 276 h 311"/>
                  <a:gd name="T8" fmla="*/ 106 w 235"/>
                  <a:gd name="T9" fmla="*/ 311 h 311"/>
                  <a:gd name="T10" fmla="*/ 0 w 235"/>
                  <a:gd name="T11" fmla="*/ 311 h 311"/>
                  <a:gd name="T12" fmla="*/ 0 w 235"/>
                  <a:gd name="T13" fmla="*/ 0 h 311"/>
                  <a:gd name="T14" fmla="*/ 235 w 235"/>
                  <a:gd name="T15" fmla="*/ 0 h 311"/>
                  <a:gd name="T16" fmla="*/ 235 w 235"/>
                  <a:gd name="T17" fmla="*/ 311 h 311"/>
                  <a:gd name="T18" fmla="*/ 143 w 235"/>
                  <a:gd name="T19" fmla="*/ 296 h 311"/>
                  <a:gd name="T20" fmla="*/ 220 w 235"/>
                  <a:gd name="T21" fmla="*/ 296 h 311"/>
                  <a:gd name="T22" fmla="*/ 220 w 235"/>
                  <a:gd name="T23" fmla="*/ 15 h 311"/>
                  <a:gd name="T24" fmla="*/ 15 w 235"/>
                  <a:gd name="T25" fmla="*/ 15 h 311"/>
                  <a:gd name="T26" fmla="*/ 15 w 235"/>
                  <a:gd name="T27" fmla="*/ 296 h 311"/>
                  <a:gd name="T28" fmla="*/ 91 w 235"/>
                  <a:gd name="T29" fmla="*/ 296 h 311"/>
                  <a:gd name="T30" fmla="*/ 91 w 235"/>
                  <a:gd name="T31" fmla="*/ 261 h 311"/>
                  <a:gd name="T32" fmla="*/ 143 w 235"/>
                  <a:gd name="T33" fmla="*/ 261 h 311"/>
                  <a:gd name="T34" fmla="*/ 143 w 235"/>
                  <a:gd name="T35" fmla="*/ 296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35" h="311">
                    <a:moveTo>
                      <a:pt x="235" y="311"/>
                    </a:moveTo>
                    <a:lnTo>
                      <a:pt x="128" y="311"/>
                    </a:lnTo>
                    <a:lnTo>
                      <a:pt x="128" y="276"/>
                    </a:lnTo>
                    <a:lnTo>
                      <a:pt x="106" y="276"/>
                    </a:lnTo>
                    <a:lnTo>
                      <a:pt x="106" y="311"/>
                    </a:lnTo>
                    <a:lnTo>
                      <a:pt x="0" y="311"/>
                    </a:lnTo>
                    <a:lnTo>
                      <a:pt x="0" y="0"/>
                    </a:lnTo>
                    <a:lnTo>
                      <a:pt x="235" y="0"/>
                    </a:lnTo>
                    <a:lnTo>
                      <a:pt x="235" y="311"/>
                    </a:lnTo>
                    <a:close/>
                    <a:moveTo>
                      <a:pt x="143" y="296"/>
                    </a:moveTo>
                    <a:lnTo>
                      <a:pt x="220" y="296"/>
                    </a:lnTo>
                    <a:lnTo>
                      <a:pt x="220" y="15"/>
                    </a:lnTo>
                    <a:lnTo>
                      <a:pt x="15" y="15"/>
                    </a:lnTo>
                    <a:lnTo>
                      <a:pt x="15" y="296"/>
                    </a:lnTo>
                    <a:lnTo>
                      <a:pt x="91" y="296"/>
                    </a:lnTo>
                    <a:lnTo>
                      <a:pt x="91" y="261"/>
                    </a:lnTo>
                    <a:lnTo>
                      <a:pt x="143" y="261"/>
                    </a:lnTo>
                    <a:lnTo>
                      <a:pt x="143" y="296"/>
                    </a:lnTo>
                    <a:close/>
                  </a:path>
                </a:pathLst>
              </a:custGeom>
              <a:solidFill>
                <a:srgbClr val="100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4" name="Freeform 66">
                <a:extLst>
                  <a:ext uri="{FF2B5EF4-FFF2-40B4-BE49-F238E27FC236}">
                    <a16:creationId xmlns:a16="http://schemas.microsoft.com/office/drawing/2014/main" id="{714C2512-054C-4038-B26D-3C874ED140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3738" y="1679575"/>
                <a:ext cx="107950" cy="103188"/>
              </a:xfrm>
              <a:custGeom>
                <a:avLst/>
                <a:gdLst>
                  <a:gd name="T0" fmla="*/ 68 w 68"/>
                  <a:gd name="T1" fmla="*/ 65 h 65"/>
                  <a:gd name="T2" fmla="*/ 0 w 68"/>
                  <a:gd name="T3" fmla="*/ 65 h 65"/>
                  <a:gd name="T4" fmla="*/ 0 w 68"/>
                  <a:gd name="T5" fmla="*/ 0 h 65"/>
                  <a:gd name="T6" fmla="*/ 68 w 68"/>
                  <a:gd name="T7" fmla="*/ 0 h 65"/>
                  <a:gd name="T8" fmla="*/ 68 w 68"/>
                  <a:gd name="T9" fmla="*/ 65 h 65"/>
                  <a:gd name="T10" fmla="*/ 15 w 68"/>
                  <a:gd name="T11" fmla="*/ 50 h 65"/>
                  <a:gd name="T12" fmla="*/ 52 w 68"/>
                  <a:gd name="T13" fmla="*/ 50 h 65"/>
                  <a:gd name="T14" fmla="*/ 52 w 68"/>
                  <a:gd name="T15" fmla="*/ 15 h 65"/>
                  <a:gd name="T16" fmla="*/ 15 w 68"/>
                  <a:gd name="T17" fmla="*/ 15 h 65"/>
                  <a:gd name="T18" fmla="*/ 15 w 68"/>
                  <a:gd name="T19" fmla="*/ 5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5">
                    <a:moveTo>
                      <a:pt x="68" y="65"/>
                    </a:moveTo>
                    <a:lnTo>
                      <a:pt x="0" y="65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68" y="65"/>
                    </a:lnTo>
                    <a:close/>
                    <a:moveTo>
                      <a:pt x="15" y="50"/>
                    </a:moveTo>
                    <a:lnTo>
                      <a:pt x="52" y="50"/>
                    </a:lnTo>
                    <a:lnTo>
                      <a:pt x="52" y="15"/>
                    </a:lnTo>
                    <a:lnTo>
                      <a:pt x="15" y="15"/>
                    </a:lnTo>
                    <a:lnTo>
                      <a:pt x="15" y="50"/>
                    </a:lnTo>
                    <a:close/>
                  </a:path>
                </a:pathLst>
              </a:custGeom>
              <a:solidFill>
                <a:srgbClr val="100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5" name="Freeform 67">
                <a:extLst>
                  <a:ext uri="{FF2B5EF4-FFF2-40B4-BE49-F238E27FC236}">
                    <a16:creationId xmlns:a16="http://schemas.microsoft.com/office/drawing/2014/main" id="{C48A290D-37A4-4F1C-9734-521F5B8BE6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6288" y="1679575"/>
                <a:ext cx="107950" cy="103188"/>
              </a:xfrm>
              <a:custGeom>
                <a:avLst/>
                <a:gdLst>
                  <a:gd name="T0" fmla="*/ 68 w 68"/>
                  <a:gd name="T1" fmla="*/ 65 h 65"/>
                  <a:gd name="T2" fmla="*/ 0 w 68"/>
                  <a:gd name="T3" fmla="*/ 65 h 65"/>
                  <a:gd name="T4" fmla="*/ 0 w 68"/>
                  <a:gd name="T5" fmla="*/ 0 h 65"/>
                  <a:gd name="T6" fmla="*/ 68 w 68"/>
                  <a:gd name="T7" fmla="*/ 0 h 65"/>
                  <a:gd name="T8" fmla="*/ 68 w 68"/>
                  <a:gd name="T9" fmla="*/ 65 h 65"/>
                  <a:gd name="T10" fmla="*/ 16 w 68"/>
                  <a:gd name="T11" fmla="*/ 50 h 65"/>
                  <a:gd name="T12" fmla="*/ 53 w 68"/>
                  <a:gd name="T13" fmla="*/ 50 h 65"/>
                  <a:gd name="T14" fmla="*/ 53 w 68"/>
                  <a:gd name="T15" fmla="*/ 15 h 65"/>
                  <a:gd name="T16" fmla="*/ 16 w 68"/>
                  <a:gd name="T17" fmla="*/ 15 h 65"/>
                  <a:gd name="T18" fmla="*/ 16 w 68"/>
                  <a:gd name="T19" fmla="*/ 5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5">
                    <a:moveTo>
                      <a:pt x="68" y="65"/>
                    </a:moveTo>
                    <a:lnTo>
                      <a:pt x="0" y="65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68" y="65"/>
                    </a:lnTo>
                    <a:close/>
                    <a:moveTo>
                      <a:pt x="16" y="50"/>
                    </a:moveTo>
                    <a:lnTo>
                      <a:pt x="53" y="50"/>
                    </a:lnTo>
                    <a:lnTo>
                      <a:pt x="53" y="15"/>
                    </a:lnTo>
                    <a:lnTo>
                      <a:pt x="16" y="15"/>
                    </a:lnTo>
                    <a:lnTo>
                      <a:pt x="16" y="50"/>
                    </a:lnTo>
                    <a:close/>
                  </a:path>
                </a:pathLst>
              </a:custGeom>
              <a:solidFill>
                <a:srgbClr val="100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6" name="Freeform 68">
                <a:extLst>
                  <a:ext uri="{FF2B5EF4-FFF2-40B4-BE49-F238E27FC236}">
                    <a16:creationId xmlns:a16="http://schemas.microsoft.com/office/drawing/2014/main" id="{1AEB92CA-7178-4B40-AC06-88F87F8F4B9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0425" y="1679575"/>
                <a:ext cx="106363" cy="103188"/>
              </a:xfrm>
              <a:custGeom>
                <a:avLst/>
                <a:gdLst>
                  <a:gd name="T0" fmla="*/ 67 w 67"/>
                  <a:gd name="T1" fmla="*/ 65 h 65"/>
                  <a:gd name="T2" fmla="*/ 0 w 67"/>
                  <a:gd name="T3" fmla="*/ 65 h 65"/>
                  <a:gd name="T4" fmla="*/ 0 w 67"/>
                  <a:gd name="T5" fmla="*/ 0 h 65"/>
                  <a:gd name="T6" fmla="*/ 67 w 67"/>
                  <a:gd name="T7" fmla="*/ 0 h 65"/>
                  <a:gd name="T8" fmla="*/ 67 w 67"/>
                  <a:gd name="T9" fmla="*/ 65 h 65"/>
                  <a:gd name="T10" fmla="*/ 15 w 67"/>
                  <a:gd name="T11" fmla="*/ 50 h 65"/>
                  <a:gd name="T12" fmla="*/ 52 w 67"/>
                  <a:gd name="T13" fmla="*/ 50 h 65"/>
                  <a:gd name="T14" fmla="*/ 52 w 67"/>
                  <a:gd name="T15" fmla="*/ 15 h 65"/>
                  <a:gd name="T16" fmla="*/ 15 w 67"/>
                  <a:gd name="T17" fmla="*/ 15 h 65"/>
                  <a:gd name="T18" fmla="*/ 15 w 67"/>
                  <a:gd name="T19" fmla="*/ 5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65">
                    <a:moveTo>
                      <a:pt x="67" y="65"/>
                    </a:moveTo>
                    <a:lnTo>
                      <a:pt x="0" y="65"/>
                    </a:lnTo>
                    <a:lnTo>
                      <a:pt x="0" y="0"/>
                    </a:lnTo>
                    <a:lnTo>
                      <a:pt x="67" y="0"/>
                    </a:lnTo>
                    <a:lnTo>
                      <a:pt x="67" y="65"/>
                    </a:lnTo>
                    <a:close/>
                    <a:moveTo>
                      <a:pt x="15" y="50"/>
                    </a:moveTo>
                    <a:lnTo>
                      <a:pt x="52" y="50"/>
                    </a:lnTo>
                    <a:lnTo>
                      <a:pt x="52" y="15"/>
                    </a:lnTo>
                    <a:lnTo>
                      <a:pt x="15" y="15"/>
                    </a:lnTo>
                    <a:lnTo>
                      <a:pt x="15" y="50"/>
                    </a:lnTo>
                    <a:close/>
                  </a:path>
                </a:pathLst>
              </a:custGeom>
              <a:solidFill>
                <a:srgbClr val="100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7" name="Freeform 69">
                <a:extLst>
                  <a:ext uri="{FF2B5EF4-FFF2-40B4-BE49-F238E27FC236}">
                    <a16:creationId xmlns:a16="http://schemas.microsoft.com/office/drawing/2014/main" id="{4EE40636-B091-4D91-83E8-13D776EA9A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3738" y="1555750"/>
                <a:ext cx="107950" cy="104775"/>
              </a:xfrm>
              <a:custGeom>
                <a:avLst/>
                <a:gdLst>
                  <a:gd name="T0" fmla="*/ 68 w 68"/>
                  <a:gd name="T1" fmla="*/ 66 h 66"/>
                  <a:gd name="T2" fmla="*/ 0 w 68"/>
                  <a:gd name="T3" fmla="*/ 66 h 66"/>
                  <a:gd name="T4" fmla="*/ 0 w 68"/>
                  <a:gd name="T5" fmla="*/ 0 h 66"/>
                  <a:gd name="T6" fmla="*/ 68 w 68"/>
                  <a:gd name="T7" fmla="*/ 0 h 66"/>
                  <a:gd name="T8" fmla="*/ 68 w 68"/>
                  <a:gd name="T9" fmla="*/ 66 h 66"/>
                  <a:gd name="T10" fmla="*/ 15 w 68"/>
                  <a:gd name="T11" fmla="*/ 50 h 66"/>
                  <a:gd name="T12" fmla="*/ 52 w 68"/>
                  <a:gd name="T13" fmla="*/ 50 h 66"/>
                  <a:gd name="T14" fmla="*/ 52 w 68"/>
                  <a:gd name="T15" fmla="*/ 15 h 66"/>
                  <a:gd name="T16" fmla="*/ 15 w 68"/>
                  <a:gd name="T17" fmla="*/ 15 h 66"/>
                  <a:gd name="T18" fmla="*/ 15 w 68"/>
                  <a:gd name="T19" fmla="*/ 5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6">
                    <a:moveTo>
                      <a:pt x="68" y="66"/>
                    </a:moveTo>
                    <a:lnTo>
                      <a:pt x="0" y="66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68" y="66"/>
                    </a:lnTo>
                    <a:close/>
                    <a:moveTo>
                      <a:pt x="15" y="50"/>
                    </a:moveTo>
                    <a:lnTo>
                      <a:pt x="52" y="50"/>
                    </a:lnTo>
                    <a:lnTo>
                      <a:pt x="52" y="15"/>
                    </a:lnTo>
                    <a:lnTo>
                      <a:pt x="15" y="15"/>
                    </a:lnTo>
                    <a:lnTo>
                      <a:pt x="15" y="50"/>
                    </a:lnTo>
                    <a:close/>
                  </a:path>
                </a:pathLst>
              </a:custGeom>
              <a:solidFill>
                <a:srgbClr val="00BF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8" name="Freeform 70">
                <a:extLst>
                  <a:ext uri="{FF2B5EF4-FFF2-40B4-BE49-F238E27FC236}">
                    <a16:creationId xmlns:a16="http://schemas.microsoft.com/office/drawing/2014/main" id="{4E2894FF-C1C0-4A1B-85D7-8B2EFFA1AD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6288" y="1555750"/>
                <a:ext cx="107950" cy="104775"/>
              </a:xfrm>
              <a:custGeom>
                <a:avLst/>
                <a:gdLst>
                  <a:gd name="T0" fmla="*/ 68 w 68"/>
                  <a:gd name="T1" fmla="*/ 66 h 66"/>
                  <a:gd name="T2" fmla="*/ 0 w 68"/>
                  <a:gd name="T3" fmla="*/ 66 h 66"/>
                  <a:gd name="T4" fmla="*/ 0 w 68"/>
                  <a:gd name="T5" fmla="*/ 0 h 66"/>
                  <a:gd name="T6" fmla="*/ 68 w 68"/>
                  <a:gd name="T7" fmla="*/ 0 h 66"/>
                  <a:gd name="T8" fmla="*/ 68 w 68"/>
                  <a:gd name="T9" fmla="*/ 66 h 66"/>
                  <a:gd name="T10" fmla="*/ 16 w 68"/>
                  <a:gd name="T11" fmla="*/ 50 h 66"/>
                  <a:gd name="T12" fmla="*/ 53 w 68"/>
                  <a:gd name="T13" fmla="*/ 50 h 66"/>
                  <a:gd name="T14" fmla="*/ 53 w 68"/>
                  <a:gd name="T15" fmla="*/ 15 h 66"/>
                  <a:gd name="T16" fmla="*/ 16 w 68"/>
                  <a:gd name="T17" fmla="*/ 15 h 66"/>
                  <a:gd name="T18" fmla="*/ 16 w 68"/>
                  <a:gd name="T19" fmla="*/ 5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6">
                    <a:moveTo>
                      <a:pt x="68" y="66"/>
                    </a:moveTo>
                    <a:lnTo>
                      <a:pt x="0" y="66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68" y="66"/>
                    </a:lnTo>
                    <a:close/>
                    <a:moveTo>
                      <a:pt x="16" y="50"/>
                    </a:moveTo>
                    <a:lnTo>
                      <a:pt x="53" y="50"/>
                    </a:lnTo>
                    <a:lnTo>
                      <a:pt x="53" y="15"/>
                    </a:lnTo>
                    <a:lnTo>
                      <a:pt x="16" y="15"/>
                    </a:lnTo>
                    <a:lnTo>
                      <a:pt x="16" y="50"/>
                    </a:lnTo>
                    <a:close/>
                  </a:path>
                </a:pathLst>
              </a:custGeom>
              <a:solidFill>
                <a:srgbClr val="00BF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59" name="Freeform 71">
                <a:extLst>
                  <a:ext uri="{FF2B5EF4-FFF2-40B4-BE49-F238E27FC236}">
                    <a16:creationId xmlns:a16="http://schemas.microsoft.com/office/drawing/2014/main" id="{84A9B193-E67D-47BF-9EC8-984BDF72DD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0425" y="1555750"/>
                <a:ext cx="106363" cy="104775"/>
              </a:xfrm>
              <a:custGeom>
                <a:avLst/>
                <a:gdLst>
                  <a:gd name="T0" fmla="*/ 67 w 67"/>
                  <a:gd name="T1" fmla="*/ 66 h 66"/>
                  <a:gd name="T2" fmla="*/ 0 w 67"/>
                  <a:gd name="T3" fmla="*/ 66 h 66"/>
                  <a:gd name="T4" fmla="*/ 0 w 67"/>
                  <a:gd name="T5" fmla="*/ 0 h 66"/>
                  <a:gd name="T6" fmla="*/ 67 w 67"/>
                  <a:gd name="T7" fmla="*/ 0 h 66"/>
                  <a:gd name="T8" fmla="*/ 67 w 67"/>
                  <a:gd name="T9" fmla="*/ 66 h 66"/>
                  <a:gd name="T10" fmla="*/ 15 w 67"/>
                  <a:gd name="T11" fmla="*/ 50 h 66"/>
                  <a:gd name="T12" fmla="*/ 52 w 67"/>
                  <a:gd name="T13" fmla="*/ 50 h 66"/>
                  <a:gd name="T14" fmla="*/ 52 w 67"/>
                  <a:gd name="T15" fmla="*/ 15 h 66"/>
                  <a:gd name="T16" fmla="*/ 15 w 67"/>
                  <a:gd name="T17" fmla="*/ 15 h 66"/>
                  <a:gd name="T18" fmla="*/ 15 w 67"/>
                  <a:gd name="T19" fmla="*/ 5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66">
                    <a:moveTo>
                      <a:pt x="67" y="66"/>
                    </a:moveTo>
                    <a:lnTo>
                      <a:pt x="0" y="66"/>
                    </a:lnTo>
                    <a:lnTo>
                      <a:pt x="0" y="0"/>
                    </a:lnTo>
                    <a:lnTo>
                      <a:pt x="67" y="0"/>
                    </a:lnTo>
                    <a:lnTo>
                      <a:pt x="67" y="66"/>
                    </a:lnTo>
                    <a:close/>
                    <a:moveTo>
                      <a:pt x="15" y="50"/>
                    </a:moveTo>
                    <a:lnTo>
                      <a:pt x="52" y="50"/>
                    </a:lnTo>
                    <a:lnTo>
                      <a:pt x="52" y="15"/>
                    </a:lnTo>
                    <a:lnTo>
                      <a:pt x="15" y="15"/>
                    </a:lnTo>
                    <a:lnTo>
                      <a:pt x="15" y="50"/>
                    </a:lnTo>
                    <a:close/>
                  </a:path>
                </a:pathLst>
              </a:custGeom>
              <a:solidFill>
                <a:srgbClr val="00BF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60" name="Freeform 72">
                <a:extLst>
                  <a:ext uri="{FF2B5EF4-FFF2-40B4-BE49-F238E27FC236}">
                    <a16:creationId xmlns:a16="http://schemas.microsoft.com/office/drawing/2014/main" id="{90BEF69B-A728-4729-9E86-711C749BB3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3738" y="1431925"/>
                <a:ext cx="107950" cy="104775"/>
              </a:xfrm>
              <a:custGeom>
                <a:avLst/>
                <a:gdLst>
                  <a:gd name="T0" fmla="*/ 68 w 68"/>
                  <a:gd name="T1" fmla="*/ 66 h 66"/>
                  <a:gd name="T2" fmla="*/ 0 w 68"/>
                  <a:gd name="T3" fmla="*/ 66 h 66"/>
                  <a:gd name="T4" fmla="*/ 0 w 68"/>
                  <a:gd name="T5" fmla="*/ 0 h 66"/>
                  <a:gd name="T6" fmla="*/ 68 w 68"/>
                  <a:gd name="T7" fmla="*/ 0 h 66"/>
                  <a:gd name="T8" fmla="*/ 68 w 68"/>
                  <a:gd name="T9" fmla="*/ 66 h 66"/>
                  <a:gd name="T10" fmla="*/ 15 w 68"/>
                  <a:gd name="T11" fmla="*/ 50 h 66"/>
                  <a:gd name="T12" fmla="*/ 52 w 68"/>
                  <a:gd name="T13" fmla="*/ 50 h 66"/>
                  <a:gd name="T14" fmla="*/ 52 w 68"/>
                  <a:gd name="T15" fmla="*/ 15 h 66"/>
                  <a:gd name="T16" fmla="*/ 15 w 68"/>
                  <a:gd name="T17" fmla="*/ 15 h 66"/>
                  <a:gd name="T18" fmla="*/ 15 w 68"/>
                  <a:gd name="T19" fmla="*/ 5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6">
                    <a:moveTo>
                      <a:pt x="68" y="66"/>
                    </a:moveTo>
                    <a:lnTo>
                      <a:pt x="0" y="66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68" y="66"/>
                    </a:lnTo>
                    <a:close/>
                    <a:moveTo>
                      <a:pt x="15" y="50"/>
                    </a:moveTo>
                    <a:lnTo>
                      <a:pt x="52" y="50"/>
                    </a:lnTo>
                    <a:lnTo>
                      <a:pt x="52" y="15"/>
                    </a:lnTo>
                    <a:lnTo>
                      <a:pt x="15" y="15"/>
                    </a:lnTo>
                    <a:lnTo>
                      <a:pt x="15" y="50"/>
                    </a:lnTo>
                    <a:close/>
                  </a:path>
                </a:pathLst>
              </a:custGeom>
              <a:solidFill>
                <a:srgbClr val="100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61" name="Freeform 73">
                <a:extLst>
                  <a:ext uri="{FF2B5EF4-FFF2-40B4-BE49-F238E27FC236}">
                    <a16:creationId xmlns:a16="http://schemas.microsoft.com/office/drawing/2014/main" id="{5128D72D-E1BE-4D1F-B39F-BB3D0F4EE0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6288" y="1431925"/>
                <a:ext cx="107950" cy="104775"/>
              </a:xfrm>
              <a:custGeom>
                <a:avLst/>
                <a:gdLst>
                  <a:gd name="T0" fmla="*/ 68 w 68"/>
                  <a:gd name="T1" fmla="*/ 66 h 66"/>
                  <a:gd name="T2" fmla="*/ 0 w 68"/>
                  <a:gd name="T3" fmla="*/ 66 h 66"/>
                  <a:gd name="T4" fmla="*/ 0 w 68"/>
                  <a:gd name="T5" fmla="*/ 0 h 66"/>
                  <a:gd name="T6" fmla="*/ 68 w 68"/>
                  <a:gd name="T7" fmla="*/ 0 h 66"/>
                  <a:gd name="T8" fmla="*/ 68 w 68"/>
                  <a:gd name="T9" fmla="*/ 66 h 66"/>
                  <a:gd name="T10" fmla="*/ 16 w 68"/>
                  <a:gd name="T11" fmla="*/ 50 h 66"/>
                  <a:gd name="T12" fmla="*/ 53 w 68"/>
                  <a:gd name="T13" fmla="*/ 50 h 66"/>
                  <a:gd name="T14" fmla="*/ 53 w 68"/>
                  <a:gd name="T15" fmla="*/ 15 h 66"/>
                  <a:gd name="T16" fmla="*/ 16 w 68"/>
                  <a:gd name="T17" fmla="*/ 15 h 66"/>
                  <a:gd name="T18" fmla="*/ 16 w 68"/>
                  <a:gd name="T19" fmla="*/ 5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6">
                    <a:moveTo>
                      <a:pt x="68" y="66"/>
                    </a:moveTo>
                    <a:lnTo>
                      <a:pt x="0" y="66"/>
                    </a:lnTo>
                    <a:lnTo>
                      <a:pt x="0" y="0"/>
                    </a:lnTo>
                    <a:lnTo>
                      <a:pt x="68" y="0"/>
                    </a:lnTo>
                    <a:lnTo>
                      <a:pt x="68" y="66"/>
                    </a:lnTo>
                    <a:close/>
                    <a:moveTo>
                      <a:pt x="16" y="50"/>
                    </a:moveTo>
                    <a:lnTo>
                      <a:pt x="53" y="50"/>
                    </a:lnTo>
                    <a:lnTo>
                      <a:pt x="53" y="15"/>
                    </a:lnTo>
                    <a:lnTo>
                      <a:pt x="16" y="15"/>
                    </a:lnTo>
                    <a:lnTo>
                      <a:pt x="16" y="50"/>
                    </a:lnTo>
                    <a:close/>
                  </a:path>
                </a:pathLst>
              </a:custGeom>
              <a:solidFill>
                <a:srgbClr val="100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62" name="Freeform 74">
                <a:extLst>
                  <a:ext uri="{FF2B5EF4-FFF2-40B4-BE49-F238E27FC236}">
                    <a16:creationId xmlns:a16="http://schemas.microsoft.com/office/drawing/2014/main" id="{F4121064-7DAE-4EF7-942B-647040BC66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0425" y="1431925"/>
                <a:ext cx="106363" cy="104775"/>
              </a:xfrm>
              <a:custGeom>
                <a:avLst/>
                <a:gdLst>
                  <a:gd name="T0" fmla="*/ 67 w 67"/>
                  <a:gd name="T1" fmla="*/ 66 h 66"/>
                  <a:gd name="T2" fmla="*/ 0 w 67"/>
                  <a:gd name="T3" fmla="*/ 66 h 66"/>
                  <a:gd name="T4" fmla="*/ 0 w 67"/>
                  <a:gd name="T5" fmla="*/ 0 h 66"/>
                  <a:gd name="T6" fmla="*/ 67 w 67"/>
                  <a:gd name="T7" fmla="*/ 0 h 66"/>
                  <a:gd name="T8" fmla="*/ 67 w 67"/>
                  <a:gd name="T9" fmla="*/ 66 h 66"/>
                  <a:gd name="T10" fmla="*/ 15 w 67"/>
                  <a:gd name="T11" fmla="*/ 50 h 66"/>
                  <a:gd name="T12" fmla="*/ 52 w 67"/>
                  <a:gd name="T13" fmla="*/ 50 h 66"/>
                  <a:gd name="T14" fmla="*/ 52 w 67"/>
                  <a:gd name="T15" fmla="*/ 15 h 66"/>
                  <a:gd name="T16" fmla="*/ 15 w 67"/>
                  <a:gd name="T17" fmla="*/ 15 h 66"/>
                  <a:gd name="T18" fmla="*/ 15 w 67"/>
                  <a:gd name="T19" fmla="*/ 5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66">
                    <a:moveTo>
                      <a:pt x="67" y="66"/>
                    </a:moveTo>
                    <a:lnTo>
                      <a:pt x="0" y="66"/>
                    </a:lnTo>
                    <a:lnTo>
                      <a:pt x="0" y="0"/>
                    </a:lnTo>
                    <a:lnTo>
                      <a:pt x="67" y="0"/>
                    </a:lnTo>
                    <a:lnTo>
                      <a:pt x="67" y="66"/>
                    </a:lnTo>
                    <a:close/>
                    <a:moveTo>
                      <a:pt x="15" y="50"/>
                    </a:moveTo>
                    <a:lnTo>
                      <a:pt x="52" y="50"/>
                    </a:lnTo>
                    <a:lnTo>
                      <a:pt x="52" y="15"/>
                    </a:lnTo>
                    <a:lnTo>
                      <a:pt x="15" y="15"/>
                    </a:lnTo>
                    <a:lnTo>
                      <a:pt x="15" y="50"/>
                    </a:lnTo>
                    <a:close/>
                  </a:path>
                </a:pathLst>
              </a:custGeom>
              <a:solidFill>
                <a:srgbClr val="1006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68" name="Picture 67">
            <a:extLst>
              <a:ext uri="{FF2B5EF4-FFF2-40B4-BE49-F238E27FC236}">
                <a16:creationId xmlns:a16="http://schemas.microsoft.com/office/drawing/2014/main" id="{9D717BD3-237D-4235-B29A-3B1A6DDB27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74489" y="4055357"/>
            <a:ext cx="457200" cy="4572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CAB55347-8DF8-432D-9EAA-856C1A320667}"/>
              </a:ext>
            </a:extLst>
          </p:cNvPr>
          <p:cNvGrpSpPr/>
          <p:nvPr/>
        </p:nvGrpSpPr>
        <p:grpSpPr>
          <a:xfrm>
            <a:off x="6485239" y="3839401"/>
            <a:ext cx="678780" cy="536547"/>
            <a:chOff x="6446737" y="3964530"/>
            <a:chExt cx="802725" cy="546342"/>
          </a:xfrm>
        </p:grpSpPr>
        <p:cxnSp>
          <p:nvCxnSpPr>
            <p:cNvPr id="70" name="Straight Arrow Connector 69">
              <a:extLst>
                <a:ext uri="{FF2B5EF4-FFF2-40B4-BE49-F238E27FC236}">
                  <a16:creationId xmlns:a16="http://schemas.microsoft.com/office/drawing/2014/main" id="{0C21E3AE-F4B6-4BE8-AD73-060248968FEF}"/>
                </a:ext>
              </a:extLst>
            </p:cNvPr>
            <p:cNvCxnSpPr/>
            <p:nvPr/>
          </p:nvCxnSpPr>
          <p:spPr>
            <a:xfrm>
              <a:off x="6452431" y="4504888"/>
              <a:ext cx="797031" cy="0"/>
            </a:xfrm>
            <a:prstGeom prst="straightConnector1">
              <a:avLst/>
            </a:prstGeom>
            <a:ln w="28575">
              <a:solidFill>
                <a:srgbClr val="10069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8EEB8951-064F-489C-A2CB-9315811413B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46737" y="3964530"/>
              <a:ext cx="0" cy="546342"/>
            </a:xfrm>
            <a:prstGeom prst="straightConnector1">
              <a:avLst/>
            </a:prstGeom>
            <a:ln w="28575">
              <a:solidFill>
                <a:srgbClr val="10069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B02DB60D-BE99-42DC-9791-63D7C7E60C75}"/>
                </a:ext>
              </a:extLst>
            </p:cNvPr>
            <p:cNvCxnSpPr>
              <a:cxnSpLocks/>
            </p:cNvCxnSpPr>
            <p:nvPr/>
          </p:nvCxnSpPr>
          <p:spPr>
            <a:xfrm>
              <a:off x="6645378" y="4170069"/>
              <a:ext cx="186673" cy="0"/>
            </a:xfrm>
            <a:prstGeom prst="line">
              <a:avLst/>
            </a:prstGeom>
            <a:ln w="57150">
              <a:solidFill>
                <a:srgbClr val="00BF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C2EF460E-B88E-477A-8357-2DBFEA59574E}"/>
                </a:ext>
              </a:extLst>
            </p:cNvPr>
            <p:cNvCxnSpPr>
              <a:cxnSpLocks/>
            </p:cNvCxnSpPr>
            <p:nvPr/>
          </p:nvCxnSpPr>
          <p:spPr>
            <a:xfrm>
              <a:off x="6453829" y="4263746"/>
              <a:ext cx="262893" cy="1875"/>
            </a:xfrm>
            <a:prstGeom prst="line">
              <a:avLst/>
            </a:prstGeom>
            <a:ln w="57150">
              <a:solidFill>
                <a:srgbClr val="00BF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2573827E-9578-4C60-A03B-6F4FE65AFE69}"/>
                </a:ext>
              </a:extLst>
            </p:cNvPr>
            <p:cNvCxnSpPr/>
            <p:nvPr/>
          </p:nvCxnSpPr>
          <p:spPr>
            <a:xfrm>
              <a:off x="6698508" y="4357423"/>
              <a:ext cx="398515" cy="0"/>
            </a:xfrm>
            <a:prstGeom prst="line">
              <a:avLst/>
            </a:prstGeom>
            <a:ln w="57150">
              <a:solidFill>
                <a:srgbClr val="00BF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44D1FC65-E787-4087-B8C2-09CC9E71960A}"/>
                </a:ext>
              </a:extLst>
            </p:cNvPr>
            <p:cNvCxnSpPr/>
            <p:nvPr/>
          </p:nvCxnSpPr>
          <p:spPr>
            <a:xfrm>
              <a:off x="6448236" y="4434322"/>
              <a:ext cx="398515" cy="0"/>
            </a:xfrm>
            <a:prstGeom prst="line">
              <a:avLst/>
            </a:prstGeom>
            <a:ln w="57150">
              <a:solidFill>
                <a:srgbClr val="00BF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C485B00-829F-4C79-BA19-718F0146D312}"/>
                </a:ext>
              </a:extLst>
            </p:cNvPr>
            <p:cNvCxnSpPr>
              <a:cxnSpLocks/>
            </p:cNvCxnSpPr>
            <p:nvPr/>
          </p:nvCxnSpPr>
          <p:spPr>
            <a:xfrm>
              <a:off x="6453829" y="4079188"/>
              <a:ext cx="186673" cy="0"/>
            </a:xfrm>
            <a:prstGeom prst="line">
              <a:avLst/>
            </a:prstGeom>
            <a:ln w="57150">
              <a:solidFill>
                <a:srgbClr val="00BF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itle 2">
            <a:extLst>
              <a:ext uri="{FF2B5EF4-FFF2-40B4-BE49-F238E27FC236}">
                <a16:creationId xmlns:a16="http://schemas.microsoft.com/office/drawing/2014/main" id="{0713DF81-4E61-45C7-BC24-3BD573490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6540" y="240268"/>
            <a:ext cx="7767921" cy="516824"/>
          </a:xfrm>
        </p:spPr>
        <p:txBody>
          <a:bodyPr>
            <a:noAutofit/>
          </a:bodyPr>
          <a:lstStyle/>
          <a:p>
            <a:r>
              <a:rPr lang="en-GB" sz="1800" dirty="0">
                <a:solidFill>
                  <a:schemeClr val="bg2"/>
                </a:solidFill>
                <a:latin typeface="+mn-lt"/>
              </a:rPr>
              <a:t>Turning nuclear into a product not a one-off mega infrastructure project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ED094F41-B24F-429F-8649-C98A414A01FC}"/>
              </a:ext>
            </a:extLst>
          </p:cNvPr>
          <p:cNvSpPr/>
          <p:nvPr/>
        </p:nvSpPr>
        <p:spPr>
          <a:xfrm rot="12258052" flipH="1">
            <a:off x="1728443" y="1767970"/>
            <a:ext cx="4828348" cy="658181"/>
          </a:xfrm>
          <a:prstGeom prst="arc">
            <a:avLst>
              <a:gd name="adj1" fmla="val 11041552"/>
              <a:gd name="adj2" fmla="val 21462746"/>
            </a:avLst>
          </a:prstGeom>
          <a:ln w="34925">
            <a:solidFill>
              <a:srgbClr val="007588"/>
            </a:solidFill>
            <a:prstDash val="solid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E9557E-E0A6-4C31-A17E-655A287028BA}"/>
              </a:ext>
            </a:extLst>
          </p:cNvPr>
          <p:cNvSpPr txBox="1"/>
          <p:nvPr/>
        </p:nvSpPr>
        <p:spPr>
          <a:xfrm rot="1510807">
            <a:off x="3024485" y="2011591"/>
            <a:ext cx="16065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34F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Reducing Project Risk</a:t>
            </a:r>
          </a:p>
        </p:txBody>
      </p:sp>
      <p:sp>
        <p:nvSpPr>
          <p:cNvPr id="78" name="Footer Placeholder 3">
            <a:extLst>
              <a:ext uri="{FF2B5EF4-FFF2-40B4-BE49-F238E27FC236}">
                <a16:creationId xmlns:a16="http://schemas.microsoft.com/office/drawing/2014/main" id="{551C9714-4806-448F-884E-70A6EAA2675C}"/>
              </a:ext>
            </a:extLst>
          </p:cNvPr>
          <p:cNvSpPr txBox="1">
            <a:spLocks/>
          </p:cNvSpPr>
          <p:nvPr/>
        </p:nvSpPr>
        <p:spPr>
          <a:xfrm>
            <a:off x="393674" y="4709756"/>
            <a:ext cx="1785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rgbClr val="666666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+mn-cs"/>
              </a:rPr>
              <a:t>Non-Confidential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+mn-cs"/>
              </a:rPr>
              <a:t>© 2022 Rolls-Royce SMR | Not Subject to Export Control 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36826F36-9A53-4887-831E-3FC6B295B1A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35" b="11513"/>
          <a:stretch/>
        </p:blipFill>
        <p:spPr>
          <a:xfrm>
            <a:off x="-1" y="1092200"/>
            <a:ext cx="9144000" cy="3471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2974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478F63D-BBD7-4E43-B92E-D418FAA028FA}"/>
              </a:ext>
            </a:extLst>
          </p:cNvPr>
          <p:cNvSpPr/>
          <p:nvPr/>
        </p:nvSpPr>
        <p:spPr>
          <a:xfrm>
            <a:off x="2560575" y="2385004"/>
            <a:ext cx="1042916" cy="5486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D8C79844-CDBB-4C09-BD6A-98B1C3D1A358}"/>
              </a:ext>
            </a:extLst>
          </p:cNvPr>
          <p:cNvCxnSpPr>
            <a:cxnSpLocks/>
          </p:cNvCxnSpPr>
          <p:nvPr/>
        </p:nvCxnSpPr>
        <p:spPr bwMode="gray">
          <a:xfrm>
            <a:off x="4435218" y="2880000"/>
            <a:ext cx="0" cy="504000"/>
          </a:xfrm>
          <a:prstGeom prst="line">
            <a:avLst/>
          </a:prstGeom>
          <a:ln w="9525" cap="rnd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E3FD9EB-7D2E-41D7-B1B6-E5554C73A8D6}"/>
              </a:ext>
            </a:extLst>
          </p:cNvPr>
          <p:cNvCxnSpPr>
            <a:cxnSpLocks/>
          </p:cNvCxnSpPr>
          <p:nvPr/>
        </p:nvCxnSpPr>
        <p:spPr bwMode="gray">
          <a:xfrm>
            <a:off x="7010917" y="2880000"/>
            <a:ext cx="0" cy="504000"/>
          </a:xfrm>
          <a:prstGeom prst="line">
            <a:avLst/>
          </a:prstGeom>
          <a:ln w="9525" cap="rnd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D8D29EC-D664-481C-BFD4-BB3881F050EC}"/>
              </a:ext>
            </a:extLst>
          </p:cNvPr>
          <p:cNvCxnSpPr>
            <a:cxnSpLocks/>
          </p:cNvCxnSpPr>
          <p:nvPr/>
        </p:nvCxnSpPr>
        <p:spPr bwMode="gray">
          <a:xfrm flipH="1">
            <a:off x="2104230" y="2880000"/>
            <a:ext cx="0" cy="504000"/>
          </a:xfrm>
          <a:prstGeom prst="line">
            <a:avLst/>
          </a:prstGeom>
          <a:ln w="9525" cap="rnd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14CE91F-E287-4A29-884C-5254CD984B53}"/>
              </a:ext>
            </a:extLst>
          </p:cNvPr>
          <p:cNvCxnSpPr>
            <a:cxnSpLocks/>
          </p:cNvCxnSpPr>
          <p:nvPr/>
        </p:nvCxnSpPr>
        <p:spPr bwMode="gray">
          <a:xfrm flipH="1">
            <a:off x="793007" y="2880000"/>
            <a:ext cx="0" cy="504000"/>
          </a:xfrm>
          <a:prstGeom prst="line">
            <a:avLst/>
          </a:prstGeom>
          <a:ln w="9525" cap="rnd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4D66CF1-0AF4-4398-845B-1877C9275380}"/>
              </a:ext>
            </a:extLst>
          </p:cNvPr>
          <p:cNvCxnSpPr>
            <a:cxnSpLocks/>
          </p:cNvCxnSpPr>
          <p:nvPr/>
        </p:nvCxnSpPr>
        <p:spPr bwMode="gray">
          <a:xfrm>
            <a:off x="6241781" y="2880000"/>
            <a:ext cx="0" cy="504000"/>
          </a:xfrm>
          <a:prstGeom prst="line">
            <a:avLst/>
          </a:prstGeom>
          <a:ln w="9525" cap="rnd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C25E347C-7A96-48AF-88FE-D33D75F03B0B}"/>
              </a:ext>
            </a:extLst>
          </p:cNvPr>
          <p:cNvCxnSpPr>
            <a:cxnSpLocks/>
          </p:cNvCxnSpPr>
          <p:nvPr/>
        </p:nvCxnSpPr>
        <p:spPr bwMode="gray">
          <a:xfrm>
            <a:off x="3208155" y="3100414"/>
            <a:ext cx="0" cy="283586"/>
          </a:xfrm>
          <a:prstGeom prst="line">
            <a:avLst/>
          </a:prstGeom>
          <a:ln w="9525" cap="rnd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8643456A-FAA0-4E15-A500-E15BACE03FDD}"/>
              </a:ext>
            </a:extLst>
          </p:cNvPr>
          <p:cNvCxnSpPr>
            <a:cxnSpLocks/>
          </p:cNvCxnSpPr>
          <p:nvPr/>
        </p:nvCxnSpPr>
        <p:spPr bwMode="gray">
          <a:xfrm flipH="1">
            <a:off x="1608482" y="2880000"/>
            <a:ext cx="0" cy="504000"/>
          </a:xfrm>
          <a:prstGeom prst="line">
            <a:avLst/>
          </a:prstGeom>
          <a:ln w="9525" cap="rnd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2415F9E4-808D-4A4E-A6A9-4F987D5C7B02}"/>
              </a:ext>
            </a:extLst>
          </p:cNvPr>
          <p:cNvCxnSpPr>
            <a:cxnSpLocks/>
          </p:cNvCxnSpPr>
          <p:nvPr/>
        </p:nvCxnSpPr>
        <p:spPr bwMode="gray">
          <a:xfrm>
            <a:off x="8484471" y="2880000"/>
            <a:ext cx="0" cy="504000"/>
          </a:xfrm>
          <a:prstGeom prst="line">
            <a:avLst/>
          </a:prstGeom>
          <a:ln w="9525" cap="rnd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7914709-A45C-4A32-8360-D3BB14B55184}"/>
              </a:ext>
            </a:extLst>
          </p:cNvPr>
          <p:cNvCxnSpPr>
            <a:cxnSpLocks/>
          </p:cNvCxnSpPr>
          <p:nvPr/>
        </p:nvCxnSpPr>
        <p:spPr bwMode="gray">
          <a:xfrm>
            <a:off x="7755705" y="2880000"/>
            <a:ext cx="0" cy="504000"/>
          </a:xfrm>
          <a:prstGeom prst="line">
            <a:avLst/>
          </a:prstGeom>
          <a:ln w="9525" cap="rnd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AA7D4E6-E104-4AF2-9D68-D04192ACA4BC}"/>
              </a:ext>
            </a:extLst>
          </p:cNvPr>
          <p:cNvCxnSpPr>
            <a:cxnSpLocks/>
          </p:cNvCxnSpPr>
          <p:nvPr/>
        </p:nvCxnSpPr>
        <p:spPr bwMode="gray">
          <a:xfrm>
            <a:off x="5410059" y="2864948"/>
            <a:ext cx="0" cy="504000"/>
          </a:xfrm>
          <a:prstGeom prst="line">
            <a:avLst/>
          </a:prstGeom>
          <a:ln w="9525" cap="rnd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E26B8B-BBB4-4B10-B750-DB56C7A158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30" imgH="531" progId="TCLayout.ActiveDocument.1">
                  <p:embed/>
                </p:oleObj>
              </mc:Choice>
              <mc:Fallback>
                <p:oleObj name="think-cell Slide" r:id="rId10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E26B8B-BBB4-4B10-B750-DB56C7A158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A127353-2FC2-476D-A2CE-D1B99D269D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1800">
                <a:solidFill>
                  <a:srgbClr val="10069F"/>
                </a:solidFill>
              </a:rPr>
              <a:t>SMR Program  - Timeline and Key Milestones 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820DE5E-8B48-494E-B7B2-6243B844E68D}"/>
              </a:ext>
            </a:extLst>
          </p:cNvPr>
          <p:cNvCxnSpPr>
            <a:cxnSpLocks/>
          </p:cNvCxnSpPr>
          <p:nvPr/>
        </p:nvCxnSpPr>
        <p:spPr bwMode="gray">
          <a:xfrm>
            <a:off x="412713" y="3417082"/>
            <a:ext cx="8313378" cy="0"/>
          </a:xfrm>
          <a:prstGeom prst="line">
            <a:avLst/>
          </a:prstGeom>
          <a:ln w="9525" cap="rnd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3027BEF0-F14E-41D3-9E12-8840F091ADF1}"/>
              </a:ext>
            </a:extLst>
          </p:cNvPr>
          <p:cNvSpPr/>
          <p:nvPr/>
        </p:nvSpPr>
        <p:spPr bwMode="gray">
          <a:xfrm>
            <a:off x="6983917" y="3312000"/>
            <a:ext cx="54000" cy="54000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62138519-5E06-40D6-B105-F921313F81C3}"/>
              </a:ext>
            </a:extLst>
          </p:cNvPr>
          <p:cNvSpPr txBox="1">
            <a:spLocks/>
          </p:cNvSpPr>
          <p:nvPr/>
        </p:nvSpPr>
        <p:spPr bwMode="gray">
          <a:xfrm>
            <a:off x="6623975" y="3456000"/>
            <a:ext cx="773885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algn="ctr" defTabSz="89539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2116" lvl="1" indent="0" defTabSz="119386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solidFill>
                  <a:schemeClr val="accent6"/>
                </a:solidFill>
              </a:defRPr>
            </a:lvl2pPr>
            <a:lvl3pPr marL="168275" lvl="2" indent="-168275" defTabSz="1193860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aseline="0">
                <a:solidFill>
                  <a:schemeClr val="accent6"/>
                </a:solidFill>
              </a:defRPr>
            </a:lvl3pPr>
            <a:lvl4pPr marL="350838" lvl="3" indent="-182563" defTabSz="1193860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aseline="0">
                <a:solidFill>
                  <a:schemeClr val="accent6"/>
                </a:solidFill>
              </a:defRPr>
            </a:lvl4pPr>
            <a:lvl5pPr marL="579438" lvl="4" indent="-228600" defTabSz="1193860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aseline="0">
                <a:solidFill>
                  <a:schemeClr val="accent6"/>
                </a:solidFill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tallation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75B1DF1-73E2-447A-B737-492B241A5694}"/>
              </a:ext>
            </a:extLst>
          </p:cNvPr>
          <p:cNvSpPr txBox="1">
            <a:spLocks/>
          </p:cNvSpPr>
          <p:nvPr/>
        </p:nvSpPr>
        <p:spPr bwMode="gray">
          <a:xfrm>
            <a:off x="1758255" y="3456000"/>
            <a:ext cx="71680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algn="ctr" defTabSz="89539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2116" lvl="1" indent="0" defTabSz="119386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solidFill>
                  <a:schemeClr val="accent6"/>
                </a:solidFill>
              </a:defRPr>
            </a:lvl2pPr>
            <a:lvl3pPr marL="168275" lvl="2" indent="-168275" defTabSz="1193860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aseline="0">
                <a:solidFill>
                  <a:schemeClr val="accent6"/>
                </a:solidFill>
              </a:defRPr>
            </a:lvl3pPr>
            <a:lvl4pPr marL="350838" lvl="3" indent="-182563" defTabSz="1193860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aseline="0">
                <a:solidFill>
                  <a:schemeClr val="accent6"/>
                </a:solidFill>
              </a:defRPr>
            </a:lvl4pPr>
            <a:lvl5pPr marL="579438" lvl="4" indent="-228600" defTabSz="1193860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aseline="0">
                <a:solidFill>
                  <a:schemeClr val="accent6"/>
                </a:solidFill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censing </a:t>
            </a:r>
          </a:p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t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D350378-52ED-4EC6-B1ED-9FFBEC777E38}"/>
              </a:ext>
            </a:extLst>
          </p:cNvPr>
          <p:cNvSpPr/>
          <p:nvPr/>
        </p:nvSpPr>
        <p:spPr bwMode="gray">
          <a:xfrm>
            <a:off x="2070457" y="3312000"/>
            <a:ext cx="54000" cy="54000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0" name="LineBasicImpact 6">
            <a:extLst>
              <a:ext uri="{FF2B5EF4-FFF2-40B4-BE49-F238E27FC236}">
                <a16:creationId xmlns:a16="http://schemas.microsoft.com/office/drawing/2014/main" id="{44D6AEEC-4B46-46AA-AF5F-4CF05CC1549C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>
          <a:xfrm>
            <a:off x="412713" y="4247698"/>
            <a:ext cx="1446201" cy="0"/>
          </a:xfrm>
          <a:prstGeom prst="straightConnector1">
            <a:avLst/>
          </a:prstGeom>
          <a:ln w="12700" cap="sq">
            <a:solidFill>
              <a:srgbClr val="10069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LineBasicImpact 6">
            <a:extLst>
              <a:ext uri="{FF2B5EF4-FFF2-40B4-BE49-F238E27FC236}">
                <a16:creationId xmlns:a16="http://schemas.microsoft.com/office/drawing/2014/main" id="{96B3BCC3-61F7-4CAC-9163-8D95536BDD55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1970820" y="4247698"/>
            <a:ext cx="3325081" cy="0"/>
          </a:xfrm>
          <a:prstGeom prst="straightConnector1">
            <a:avLst/>
          </a:prstGeom>
          <a:ln w="12700" cap="sq">
            <a:solidFill>
              <a:srgbClr val="10069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1D034AB0-797F-40D0-BDD7-E75E4BC59C8B}"/>
              </a:ext>
            </a:extLst>
          </p:cNvPr>
          <p:cNvSpPr txBox="1">
            <a:spLocks/>
          </p:cNvSpPr>
          <p:nvPr/>
        </p:nvSpPr>
        <p:spPr bwMode="gray">
          <a:xfrm>
            <a:off x="756674" y="4305269"/>
            <a:ext cx="693943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9 - 2021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43D6FF5-9C82-4BAC-8F80-D0BF9243D413}"/>
              </a:ext>
            </a:extLst>
          </p:cNvPr>
          <p:cNvSpPr txBox="1">
            <a:spLocks/>
          </p:cNvSpPr>
          <p:nvPr/>
        </p:nvSpPr>
        <p:spPr bwMode="gray">
          <a:xfrm>
            <a:off x="3289693" y="4305269"/>
            <a:ext cx="693943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 - 2025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FAA8A65-09C5-4FAD-AC8A-BA6B07A2C4FC}"/>
              </a:ext>
            </a:extLst>
          </p:cNvPr>
          <p:cNvSpPr txBox="1">
            <a:spLocks/>
          </p:cNvSpPr>
          <p:nvPr/>
        </p:nvSpPr>
        <p:spPr bwMode="gray">
          <a:xfrm>
            <a:off x="6775976" y="4305268"/>
            <a:ext cx="979729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5 onwards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E9B44E22-80B1-4A41-9EF2-864CCBE56E71}"/>
              </a:ext>
            </a:extLst>
          </p:cNvPr>
          <p:cNvSpPr/>
          <p:nvPr/>
        </p:nvSpPr>
        <p:spPr bwMode="gray">
          <a:xfrm>
            <a:off x="766007" y="3312000"/>
            <a:ext cx="54000" cy="54000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99B20D1-ADD2-4AF7-B11B-57AE2E572259}"/>
              </a:ext>
            </a:extLst>
          </p:cNvPr>
          <p:cNvSpPr txBox="1">
            <a:spLocks/>
          </p:cNvSpPr>
          <p:nvPr/>
        </p:nvSpPr>
        <p:spPr bwMode="gray">
          <a:xfrm>
            <a:off x="450266" y="3456000"/>
            <a:ext cx="693943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algn="ctr" defTabSz="89539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2116" lvl="1" indent="0" defTabSz="119386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solidFill>
                  <a:schemeClr val="accent6"/>
                </a:solidFill>
              </a:defRPr>
            </a:lvl2pPr>
            <a:lvl3pPr marL="168275" lvl="2" indent="-168275" defTabSz="1193860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aseline="0">
                <a:solidFill>
                  <a:schemeClr val="accent6"/>
                </a:solidFill>
              </a:defRPr>
            </a:lvl3pPr>
            <a:lvl4pPr marL="350838" lvl="3" indent="-182563" defTabSz="1193860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aseline="0">
                <a:solidFill>
                  <a:schemeClr val="accent6"/>
                </a:solidFill>
              </a:defRPr>
            </a:lvl4pPr>
            <a:lvl5pPr marL="579438" lvl="4" indent="-228600" defTabSz="1193860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aseline="0">
                <a:solidFill>
                  <a:schemeClr val="accent6"/>
                </a:solidFill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is of Design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B06D90FB-7C71-4803-8909-6046DD743E9F}"/>
              </a:ext>
            </a:extLst>
          </p:cNvPr>
          <p:cNvSpPr/>
          <p:nvPr/>
        </p:nvSpPr>
        <p:spPr bwMode="gray">
          <a:xfrm>
            <a:off x="6222276" y="3312000"/>
            <a:ext cx="45719" cy="54000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132FAB0-B095-468A-86AE-44D52D0D28E4}"/>
              </a:ext>
            </a:extLst>
          </p:cNvPr>
          <p:cNvSpPr txBox="1">
            <a:spLocks/>
          </p:cNvSpPr>
          <p:nvPr/>
        </p:nvSpPr>
        <p:spPr bwMode="gray">
          <a:xfrm>
            <a:off x="6007361" y="3456000"/>
            <a:ext cx="50556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algn="ctr" defTabSz="89539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2116" lvl="1" indent="0" defTabSz="119386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solidFill>
                  <a:schemeClr val="accent6"/>
                </a:solidFill>
              </a:defRPr>
            </a:lvl2pPr>
            <a:lvl3pPr marL="168275" lvl="2" indent="-168275" defTabSz="1193860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aseline="0">
                <a:solidFill>
                  <a:schemeClr val="accent6"/>
                </a:solidFill>
              </a:defRPr>
            </a:lvl3pPr>
            <a:lvl4pPr marL="350838" lvl="3" indent="-182563" defTabSz="1193860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aseline="0">
                <a:solidFill>
                  <a:schemeClr val="accent6"/>
                </a:solidFill>
              </a:defRPr>
            </a:lvl4pPr>
            <a:lvl5pPr marL="579438" lvl="4" indent="-228600" defTabSz="1193860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aseline="0">
                <a:solidFill>
                  <a:schemeClr val="accent6"/>
                </a:solidFill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ule manufacture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AB1C910B-E389-4868-AD95-E23A45122F60}"/>
              </a:ext>
            </a:extLst>
          </p:cNvPr>
          <p:cNvSpPr/>
          <p:nvPr/>
        </p:nvSpPr>
        <p:spPr bwMode="gray">
          <a:xfrm>
            <a:off x="3181155" y="3312000"/>
            <a:ext cx="54000" cy="54000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A228032-91AE-467B-A297-9375B2B8E2AA}"/>
              </a:ext>
            </a:extLst>
          </p:cNvPr>
          <p:cNvSpPr txBox="1">
            <a:spLocks/>
          </p:cNvSpPr>
          <p:nvPr/>
        </p:nvSpPr>
        <p:spPr bwMode="gray">
          <a:xfrm>
            <a:off x="2798701" y="3456000"/>
            <a:ext cx="83124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algn="ctr" defTabSz="89539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2116" lvl="1" indent="0" defTabSz="119386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solidFill>
                  <a:schemeClr val="accent6"/>
                </a:solidFill>
              </a:defRPr>
            </a:lvl2pPr>
            <a:lvl3pPr marL="168275" lvl="2" indent="-168275" defTabSz="1193860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aseline="0">
                <a:solidFill>
                  <a:schemeClr val="accent6"/>
                </a:solidFill>
              </a:defRPr>
            </a:lvl3pPr>
            <a:lvl4pPr marL="350838" lvl="3" indent="-182563" defTabSz="1193860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aseline="0">
                <a:solidFill>
                  <a:schemeClr val="accent6"/>
                </a:solidFill>
              </a:defRPr>
            </a:lvl4pPr>
            <a:lvl5pPr marL="579438" lvl="4" indent="-228600" defTabSz="1193860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aseline="0">
                <a:solidFill>
                  <a:schemeClr val="accent6"/>
                </a:solidFill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ification </a:t>
            </a:r>
          </a:p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</a:p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idation </a:t>
            </a:r>
          </a:p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6269A862-F29F-4395-AB31-84704A52E535}"/>
              </a:ext>
            </a:extLst>
          </p:cNvPr>
          <p:cNvSpPr/>
          <p:nvPr/>
        </p:nvSpPr>
        <p:spPr bwMode="gray">
          <a:xfrm>
            <a:off x="2529323" y="3317079"/>
            <a:ext cx="54000" cy="54000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13F75B3-0BDC-47FA-8C9B-34CC14FA9516}"/>
              </a:ext>
            </a:extLst>
          </p:cNvPr>
          <p:cNvSpPr txBox="1">
            <a:spLocks/>
          </p:cNvSpPr>
          <p:nvPr/>
        </p:nvSpPr>
        <p:spPr bwMode="gray">
          <a:xfrm>
            <a:off x="4983181" y="3468135"/>
            <a:ext cx="831244" cy="6924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ulatory design approval for fleet deployment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36D81EF0-3949-4BED-AB1E-7BB080F9086F}"/>
              </a:ext>
            </a:extLst>
          </p:cNvPr>
          <p:cNvCxnSpPr>
            <a:cxnSpLocks/>
            <a:endCxn id="57" idx="3"/>
          </p:cNvCxnSpPr>
          <p:nvPr/>
        </p:nvCxnSpPr>
        <p:spPr bwMode="gray">
          <a:xfrm>
            <a:off x="5387325" y="56541979"/>
            <a:ext cx="3642" cy="492613"/>
          </a:xfrm>
          <a:prstGeom prst="line">
            <a:avLst/>
          </a:prstGeom>
          <a:ln w="9525" cap="rnd">
            <a:solidFill>
              <a:srgbClr val="7F7F7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473AE2A3-F658-482F-A3BD-98909D47D38A}"/>
              </a:ext>
            </a:extLst>
          </p:cNvPr>
          <p:cNvSpPr/>
          <p:nvPr/>
        </p:nvSpPr>
        <p:spPr bwMode="gray">
          <a:xfrm>
            <a:off x="5383059" y="3319620"/>
            <a:ext cx="54000" cy="54000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04B3A41E-FDF4-4DF6-8880-E1B2C4B15D1D}"/>
              </a:ext>
            </a:extLst>
          </p:cNvPr>
          <p:cNvSpPr/>
          <p:nvPr/>
        </p:nvSpPr>
        <p:spPr bwMode="gray">
          <a:xfrm>
            <a:off x="4411181" y="3312000"/>
            <a:ext cx="54000" cy="54000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ACD3174-895C-4ED0-8598-CFFA315391A9}"/>
              </a:ext>
            </a:extLst>
          </p:cNvPr>
          <p:cNvSpPr txBox="1">
            <a:spLocks/>
          </p:cNvSpPr>
          <p:nvPr/>
        </p:nvSpPr>
        <p:spPr bwMode="gray">
          <a:xfrm>
            <a:off x="3956695" y="3456000"/>
            <a:ext cx="929682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ite</a:t>
            </a:r>
          </a:p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elopment</a:t>
            </a:r>
          </a:p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upport</a:t>
            </a:r>
            <a:endParaRPr kumimoji="0" lang="en-US" sz="7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55897660-DC8E-4B4A-A9E7-4CFE2D0FF82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2714" y="1260000"/>
            <a:ext cx="1558106" cy="28800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42028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42028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42028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86772" y="0"/>
                </a:lnTo>
                <a:lnTo>
                  <a:pt x="1828800" y="457200"/>
                </a:lnTo>
                <a:lnTo>
                  <a:pt x="1786772" y="914400"/>
                </a:lnTo>
                <a:lnTo>
                  <a:pt x="0" y="914400"/>
                </a:lnTo>
                <a:lnTo>
                  <a:pt x="0" y="457201"/>
                </a:lnTo>
                <a:close/>
              </a:path>
            </a:pathLst>
          </a:custGeom>
          <a:solidFill>
            <a:srgbClr val="10069F"/>
          </a:solidFill>
          <a:ln w="9525">
            <a:solidFill>
              <a:srgbClr val="EFEF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) Assessment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5423CBBC-9577-4A1D-8953-F6A10713345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5376154" y="1260000"/>
            <a:ext cx="3349935" cy="28800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42028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42028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42028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86773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86773 w 1828800"/>
              <a:gd name="connsiteY1" fmla="*/ 0 h 914400"/>
              <a:gd name="connsiteX2" fmla="*/ 1828800 w 1828800"/>
              <a:gd name="connsiteY2" fmla="*/ 457200 h 914400"/>
              <a:gd name="connsiteX3" fmla="*/ 1786773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86773 w 1828800"/>
              <a:gd name="connsiteY1" fmla="*/ 0 h 914400"/>
              <a:gd name="connsiteX2" fmla="*/ 1828800 w 1828800"/>
              <a:gd name="connsiteY2" fmla="*/ 457200 h 914400"/>
              <a:gd name="connsiteX3" fmla="*/ 1786773 w 1828800"/>
              <a:gd name="connsiteY3" fmla="*/ 914400 h 914400"/>
              <a:gd name="connsiteX4" fmla="*/ 0 w 1828800"/>
              <a:gd name="connsiteY4" fmla="*/ 914400 h 914400"/>
              <a:gd name="connsiteX5" fmla="*/ 42028 w 1828800"/>
              <a:gd name="connsiteY5" fmla="*/ 457201 h 914400"/>
              <a:gd name="connsiteX0" fmla="*/ 0 w 1828800"/>
              <a:gd name="connsiteY0" fmla="*/ 0 h 914400"/>
              <a:gd name="connsiteX1" fmla="*/ 1786773 w 1828800"/>
              <a:gd name="connsiteY1" fmla="*/ 0 h 914400"/>
              <a:gd name="connsiteX2" fmla="*/ 1828800 w 1828800"/>
              <a:gd name="connsiteY2" fmla="*/ 457200 h 914400"/>
              <a:gd name="connsiteX3" fmla="*/ 1786773 w 1828800"/>
              <a:gd name="connsiteY3" fmla="*/ 914400 h 914400"/>
              <a:gd name="connsiteX4" fmla="*/ 0 w 1828800"/>
              <a:gd name="connsiteY4" fmla="*/ 914400 h 914400"/>
              <a:gd name="connsiteX5" fmla="*/ 42028 w 1828800"/>
              <a:gd name="connsiteY5" fmla="*/ 457201 h 914400"/>
              <a:gd name="connsiteX0" fmla="*/ 0 w 1828800"/>
              <a:gd name="connsiteY0" fmla="*/ 0 h 914400"/>
              <a:gd name="connsiteX1" fmla="*/ 1786773 w 1828800"/>
              <a:gd name="connsiteY1" fmla="*/ 0 h 914400"/>
              <a:gd name="connsiteX2" fmla="*/ 1828800 w 1828800"/>
              <a:gd name="connsiteY2" fmla="*/ 457200 h 914400"/>
              <a:gd name="connsiteX3" fmla="*/ 1786773 w 1828800"/>
              <a:gd name="connsiteY3" fmla="*/ 914400 h 914400"/>
              <a:gd name="connsiteX4" fmla="*/ 0 w 1828800"/>
              <a:gd name="connsiteY4" fmla="*/ 914400 h 914400"/>
              <a:gd name="connsiteX5" fmla="*/ 42028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86773" y="0"/>
                </a:lnTo>
                <a:lnTo>
                  <a:pt x="1828800" y="457200"/>
                </a:lnTo>
                <a:lnTo>
                  <a:pt x="1786773" y="914400"/>
                </a:lnTo>
                <a:lnTo>
                  <a:pt x="0" y="914400"/>
                </a:lnTo>
                <a:lnTo>
                  <a:pt x="42028" y="457201"/>
                </a:lnTo>
                <a:close/>
              </a:path>
            </a:pathLst>
          </a:custGeom>
          <a:solidFill>
            <a:srgbClr val="003399"/>
          </a:solidFill>
          <a:ln w="9525">
            <a:solidFill>
              <a:srgbClr val="EFEF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) Commercialisatio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FED8FC18-1DAC-4398-8BE2-DCF854BE8D9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923107" y="1260000"/>
            <a:ext cx="3559692" cy="288000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42028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42028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42028 w 1828800"/>
              <a:gd name="connsiteY5" fmla="*/ 457201 h 914400"/>
              <a:gd name="connsiteX0" fmla="*/ 0 w 1828800"/>
              <a:gd name="connsiteY0" fmla="*/ 0 h 914400"/>
              <a:gd name="connsiteX1" fmla="*/ 17867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20428 w 1828800"/>
              <a:gd name="connsiteY5" fmla="*/ 457201 h 914400"/>
              <a:gd name="connsiteX0" fmla="*/ 0 w 1828800"/>
              <a:gd name="connsiteY0" fmla="*/ 0 h 914400"/>
              <a:gd name="connsiteX1" fmla="*/ 1808372 w 1828800"/>
              <a:gd name="connsiteY1" fmla="*/ 0 h 914400"/>
              <a:gd name="connsiteX2" fmla="*/ 1828800 w 1828800"/>
              <a:gd name="connsiteY2" fmla="*/ 457200 h 914400"/>
              <a:gd name="connsiteX3" fmla="*/ 1786772 w 1828800"/>
              <a:gd name="connsiteY3" fmla="*/ 914400 h 914400"/>
              <a:gd name="connsiteX4" fmla="*/ 0 w 1828800"/>
              <a:gd name="connsiteY4" fmla="*/ 914400 h 914400"/>
              <a:gd name="connsiteX5" fmla="*/ 20428 w 1828800"/>
              <a:gd name="connsiteY5" fmla="*/ 457201 h 914400"/>
              <a:gd name="connsiteX0" fmla="*/ 0 w 1828800"/>
              <a:gd name="connsiteY0" fmla="*/ 0 h 914400"/>
              <a:gd name="connsiteX1" fmla="*/ 1808372 w 1828800"/>
              <a:gd name="connsiteY1" fmla="*/ 0 h 914400"/>
              <a:gd name="connsiteX2" fmla="*/ 1828800 w 1828800"/>
              <a:gd name="connsiteY2" fmla="*/ 457200 h 914400"/>
              <a:gd name="connsiteX3" fmla="*/ 1808372 w 1828800"/>
              <a:gd name="connsiteY3" fmla="*/ 914400 h 914400"/>
              <a:gd name="connsiteX4" fmla="*/ 0 w 1828800"/>
              <a:gd name="connsiteY4" fmla="*/ 914400 h 914400"/>
              <a:gd name="connsiteX5" fmla="*/ 20428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808372" y="0"/>
                </a:lnTo>
                <a:lnTo>
                  <a:pt x="1828800" y="457200"/>
                </a:lnTo>
                <a:lnTo>
                  <a:pt x="1808372" y="914400"/>
                </a:lnTo>
                <a:lnTo>
                  <a:pt x="0" y="914400"/>
                </a:lnTo>
                <a:lnTo>
                  <a:pt x="20428" y="457201"/>
                </a:lnTo>
                <a:close/>
              </a:path>
            </a:pathLst>
          </a:custGeom>
          <a:solidFill>
            <a:srgbClr val="0033CC"/>
          </a:solidFill>
          <a:ln w="9525">
            <a:solidFill>
              <a:srgbClr val="EFEF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) Development and Investment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D9E247E4-CE42-48E5-A660-E8ECD3779C3D}"/>
              </a:ext>
            </a:extLst>
          </p:cNvPr>
          <p:cNvSpPr/>
          <p:nvPr/>
        </p:nvSpPr>
        <p:spPr bwMode="gray">
          <a:xfrm>
            <a:off x="1581482" y="3312000"/>
            <a:ext cx="54000" cy="54000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702E76FD-597B-4C7B-AE8C-0FAB0FA20F2F}"/>
              </a:ext>
            </a:extLst>
          </p:cNvPr>
          <p:cNvSpPr txBox="1">
            <a:spLocks/>
          </p:cNvSpPr>
          <p:nvPr/>
        </p:nvSpPr>
        <p:spPr bwMode="gray">
          <a:xfrm>
            <a:off x="1265741" y="3456000"/>
            <a:ext cx="693943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ized program funding</a:t>
            </a: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A7D5261A-EFC6-4D74-ADF1-20BA7AF3A215}"/>
              </a:ext>
            </a:extLst>
          </p:cNvPr>
          <p:cNvSpPr/>
          <p:nvPr/>
        </p:nvSpPr>
        <p:spPr bwMode="gray">
          <a:xfrm>
            <a:off x="8457471" y="3312000"/>
            <a:ext cx="54000" cy="54000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A4205AD2-EF8B-46CB-B170-B321365C0D36}"/>
              </a:ext>
            </a:extLst>
          </p:cNvPr>
          <p:cNvSpPr txBox="1">
            <a:spLocks/>
          </p:cNvSpPr>
          <p:nvPr/>
        </p:nvSpPr>
        <p:spPr bwMode="gray">
          <a:xfrm>
            <a:off x="7978193" y="3510243"/>
            <a:ext cx="1088316" cy="54373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 SMR unit operational</a:t>
            </a:r>
          </a:p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lang="en-US" sz="900" dirty="0">
                <a:solidFill>
                  <a:srgbClr val="000000"/>
                </a:solidFill>
                <a:latin typeface="Arial"/>
              </a:rPr>
              <a:t>(Early 2030s in UK)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1E9EE311-960F-49E7-B914-9E114ABD5B1C}"/>
              </a:ext>
            </a:extLst>
          </p:cNvPr>
          <p:cNvSpPr/>
          <p:nvPr/>
        </p:nvSpPr>
        <p:spPr bwMode="gray">
          <a:xfrm>
            <a:off x="7728705" y="3312000"/>
            <a:ext cx="54000" cy="54000"/>
          </a:xfrm>
          <a:prstGeom prst="ellipse">
            <a:avLst/>
          </a:prstGeom>
          <a:solidFill>
            <a:schemeClr val="tx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5204B1D9-AC15-42B5-BBE3-565AB578D71F}"/>
              </a:ext>
            </a:extLst>
          </p:cNvPr>
          <p:cNvSpPr txBox="1">
            <a:spLocks/>
          </p:cNvSpPr>
          <p:nvPr/>
        </p:nvSpPr>
        <p:spPr bwMode="gray">
          <a:xfrm>
            <a:off x="7383753" y="3456000"/>
            <a:ext cx="773885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R="0" lvl="0" indent="0" algn="ctr" defTabSz="89539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 kumimoji="0" sz="7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1pPr>
            <a:lvl2pPr marL="2116" lvl="1" indent="0" defTabSz="1193860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b="0" baseline="0">
                <a:solidFill>
                  <a:schemeClr val="accent6"/>
                </a:solidFill>
              </a:defRPr>
            </a:lvl2pPr>
            <a:lvl3pPr marL="168275" lvl="2" indent="-168275" defTabSz="1193860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baseline="0">
                <a:solidFill>
                  <a:schemeClr val="accent6"/>
                </a:solidFill>
              </a:defRPr>
            </a:lvl3pPr>
            <a:lvl4pPr marL="350838" lvl="3" indent="-182563" defTabSz="1193860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baseline="0">
                <a:solidFill>
                  <a:schemeClr val="accent6"/>
                </a:solidFill>
              </a:defRPr>
            </a:lvl4pPr>
            <a:lvl5pPr marL="579438" lvl="4" indent="-228600" defTabSz="1193860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baseline="0">
                <a:solidFill>
                  <a:schemeClr val="accent6"/>
                </a:solidFill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/>
            </a:lvl9pPr>
          </a:lstStyle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issioning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5638502-92E0-1FAB-F332-580D0546F702}"/>
              </a:ext>
            </a:extLst>
          </p:cNvPr>
          <p:cNvGrpSpPr/>
          <p:nvPr/>
        </p:nvGrpSpPr>
        <p:grpSpPr>
          <a:xfrm>
            <a:off x="2446574" y="1796574"/>
            <a:ext cx="644840" cy="2364058"/>
            <a:chOff x="1974430" y="1796574"/>
            <a:chExt cx="644840" cy="2364058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714538F-4E9D-4B1B-AEA6-B4021E5746C6}"/>
                </a:ext>
              </a:extLst>
            </p:cNvPr>
            <p:cNvCxnSpPr/>
            <p:nvPr/>
          </p:nvCxnSpPr>
          <p:spPr>
            <a:xfrm>
              <a:off x="2269778" y="2073264"/>
              <a:ext cx="0" cy="2087368"/>
            </a:xfrm>
            <a:prstGeom prst="line">
              <a:avLst/>
            </a:prstGeom>
            <a:ln>
              <a:solidFill>
                <a:srgbClr val="10069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A00643B-4B8A-40D8-A1A6-EBC156F0097D}"/>
                </a:ext>
              </a:extLst>
            </p:cNvPr>
            <p:cNvSpPr txBox="1"/>
            <p:nvPr/>
          </p:nvSpPr>
          <p:spPr>
            <a:xfrm>
              <a:off x="1974430" y="1796574"/>
              <a:ext cx="64484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1200" cap="none" spc="0" normalizeH="0" baseline="0" noProof="0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Today</a:t>
              </a:r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9499D7F7-6A36-47B2-907A-07FDF8CDB5DC}"/>
                </a:ext>
              </a:extLst>
            </p:cNvPr>
            <p:cNvSpPr/>
            <p:nvPr/>
          </p:nvSpPr>
          <p:spPr>
            <a:xfrm rot="10800000">
              <a:off x="2208450" y="2063172"/>
              <a:ext cx="118534" cy="111316"/>
            </a:xfrm>
            <a:prstGeom prst="triangle">
              <a:avLst/>
            </a:prstGeom>
            <a:solidFill>
              <a:srgbClr val="10069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endParaRPr>
            </a:p>
          </p:txBody>
        </p:sp>
      </p:grpSp>
      <p:cxnSp>
        <p:nvCxnSpPr>
          <p:cNvPr id="78" name="LineBasicImpact 6">
            <a:extLst>
              <a:ext uri="{FF2B5EF4-FFF2-40B4-BE49-F238E27FC236}">
                <a16:creationId xmlns:a16="http://schemas.microsoft.com/office/drawing/2014/main" id="{119FEEEF-9C3A-45C9-ABBC-F701D9339DA8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482798" y="4247698"/>
            <a:ext cx="3209547" cy="0"/>
          </a:xfrm>
          <a:prstGeom prst="straightConnector1">
            <a:avLst/>
          </a:prstGeom>
          <a:ln w="12700" cap="sq">
            <a:solidFill>
              <a:srgbClr val="10069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" name="Picture 80">
            <a:extLst>
              <a:ext uri="{FF2B5EF4-FFF2-40B4-BE49-F238E27FC236}">
                <a16:creationId xmlns:a16="http://schemas.microsoft.com/office/drawing/2014/main" id="{160829F6-E7B6-43C2-85BA-6960E15B44A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3335" y="2385004"/>
            <a:ext cx="548688" cy="548688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9981D5E0-4FD2-461F-9A63-FCC4747A40C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5649" y="2373739"/>
            <a:ext cx="548688" cy="548688"/>
          </a:xfrm>
          <a:prstGeom prst="rect">
            <a:avLst/>
          </a:prstGeom>
          <a:ln>
            <a:noFill/>
          </a:ln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04B6BCBF-6D4E-45F5-94FE-94D3020ACC6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3175" y="2359163"/>
            <a:ext cx="542591" cy="542591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5CC1EE7B-5BA2-42D0-9AD5-554B9131C52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5715" y="2369378"/>
            <a:ext cx="548688" cy="548688"/>
          </a:xfrm>
          <a:prstGeom prst="rect">
            <a:avLst/>
          </a:prstGeom>
        </p:spPr>
      </p:pic>
      <p:sp>
        <p:nvSpPr>
          <p:cNvPr id="61" name="Oval 60">
            <a:extLst>
              <a:ext uri="{FF2B5EF4-FFF2-40B4-BE49-F238E27FC236}">
                <a16:creationId xmlns:a16="http://schemas.microsoft.com/office/drawing/2014/main" id="{612D259A-4CD7-4234-BE81-63EE74278C52}"/>
              </a:ext>
            </a:extLst>
          </p:cNvPr>
          <p:cNvSpPr/>
          <p:nvPr/>
        </p:nvSpPr>
        <p:spPr>
          <a:xfrm>
            <a:off x="3272875" y="2386235"/>
            <a:ext cx="548812" cy="548812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8777F83-A896-4C9A-8E7D-220FEFCD6A73}"/>
              </a:ext>
            </a:extLst>
          </p:cNvPr>
          <p:cNvSpPr txBox="1">
            <a:spLocks/>
          </p:cNvSpPr>
          <p:nvPr/>
        </p:nvSpPr>
        <p:spPr bwMode="gray">
          <a:xfrm>
            <a:off x="2899804" y="2511460"/>
            <a:ext cx="73333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00000"/>
              <a:defRPr lang="x-none" b="1" baseline="0">
                <a:latin typeface="+mn-lt"/>
              </a:defRPr>
            </a:lvl1pPr>
            <a:lvl2pPr marL="2116" lvl="1" indent="0" defTabSz="1193860" eaLnBrk="1" latinLnBrk="0" hangingPunct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SzPct val="125000"/>
              <a:buFontTx/>
              <a:buNone/>
              <a:defRPr lang="x-none" b="0" baseline="0">
                <a:solidFill>
                  <a:schemeClr val="accent6"/>
                </a:solidFill>
                <a:latin typeface="+mn-lt"/>
              </a:defRPr>
            </a:lvl2pPr>
            <a:lvl3pPr marL="168275" lvl="2" indent="-168275" defTabSz="1193860" eaLnBrk="1" latinLnBrk="0" hangingPunct="1"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3pPr>
            <a:lvl4pPr marL="350838" lvl="3" indent="-182563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lang="x-none" baseline="0">
                <a:solidFill>
                  <a:schemeClr val="accent6"/>
                </a:solidFill>
                <a:latin typeface="+mn-lt"/>
              </a:defRPr>
            </a:lvl4pPr>
            <a:lvl5pPr marL="579438" lvl="4" indent="-228600" defTabSz="1193860" eaLnBrk="1" latinLnBrk="0" hangingPunct="1">
              <a:spcAft>
                <a:spcPts val="600"/>
              </a:spcAft>
              <a:buClr>
                <a:schemeClr val="accent6"/>
              </a:buClr>
              <a:buSzPct val="100000"/>
              <a:buFont typeface="Times New Roman" panose="02020603050405020304" pitchFamily="18" charset="0"/>
              <a:buChar char="─"/>
              <a:defRPr lang="x-none" baseline="0">
                <a:solidFill>
                  <a:schemeClr val="accent6"/>
                </a:solidFill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2133" baseline="0">
                <a:latin typeface="+mn-lt"/>
              </a:defRPr>
            </a:lvl9pPr>
          </a:lstStyle>
          <a:p>
            <a:pPr marL="0" marR="0" lvl="0" indent="0" algn="ctr" defTabSz="895395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rgbClr val="051C2C"/>
              </a:buClr>
              <a:buSzPct val="100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ure first SMR orders</a:t>
            </a:r>
          </a:p>
        </p:txBody>
      </p:sp>
    </p:spTree>
    <p:extLst>
      <p:ext uri="{BB962C8B-B14F-4D97-AF65-F5344CB8AC3E}">
        <p14:creationId xmlns:p14="http://schemas.microsoft.com/office/powerpoint/2010/main" val="35590245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2BF12E8-97C9-2AE5-A265-6B4C31B379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3074" y="315620"/>
            <a:ext cx="7257800" cy="516824"/>
          </a:xfrm>
        </p:spPr>
        <p:txBody>
          <a:bodyPr>
            <a:normAutofit fontScale="90000"/>
          </a:bodyPr>
          <a:lstStyle/>
          <a:p>
            <a:r>
              <a:rPr lang="en-GB" sz="1800" dirty="0"/>
              <a:t>Progress to date – Production Readiness</a:t>
            </a:r>
            <a:br>
              <a:rPr lang="en-GB" sz="1800" dirty="0"/>
            </a:br>
            <a:endParaRPr lang="en-GB" sz="1800" dirty="0"/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E4942175-84FD-5364-B961-71C23B4BB8A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793" t="40485" r="78563" b="35767"/>
          <a:stretch/>
        </p:blipFill>
        <p:spPr>
          <a:xfrm>
            <a:off x="6054708" y="2883807"/>
            <a:ext cx="3039340" cy="1712574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61E08AC7-8E17-079C-E57F-3202DC3333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570"/>
          <a:stretch/>
        </p:blipFill>
        <p:spPr>
          <a:xfrm>
            <a:off x="2853260" y="1100007"/>
            <a:ext cx="3024296" cy="1746031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EA5EF4E-142F-0B44-FB42-05CE1094B6E0}"/>
              </a:ext>
            </a:extLst>
          </p:cNvPr>
          <p:cNvGrpSpPr/>
          <p:nvPr/>
        </p:nvGrpSpPr>
        <p:grpSpPr>
          <a:xfrm>
            <a:off x="51621" y="2883807"/>
            <a:ext cx="2738074" cy="1712574"/>
            <a:chOff x="3246996" y="2933819"/>
            <a:chExt cx="2646650" cy="178049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BC680BD9-D91C-F129-8FFD-8D37CF40A7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3221" t="56108" r="13975" b="9276"/>
            <a:stretch/>
          </p:blipFill>
          <p:spPr>
            <a:xfrm>
              <a:off x="3246996" y="2933819"/>
              <a:ext cx="2616380" cy="1780490"/>
            </a:xfrm>
            <a:prstGeom prst="rect">
              <a:avLst/>
            </a:prstGeom>
          </p:spPr>
        </p:pic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2C287C3-D232-5C19-BBB5-42867D0DC728}"/>
                </a:ext>
              </a:extLst>
            </p:cNvPr>
            <p:cNvSpPr txBox="1"/>
            <p:nvPr/>
          </p:nvSpPr>
          <p:spPr>
            <a:xfrm>
              <a:off x="3254768" y="4493921"/>
              <a:ext cx="2638878" cy="220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700" b="1" dirty="0"/>
                <a:t>©SFEL: Rolls-Royce SMR VAMP shell after heat treatment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F663AD4-A882-6A95-41DD-39D159483C37}"/>
              </a:ext>
            </a:extLst>
          </p:cNvPr>
          <p:cNvGrpSpPr/>
          <p:nvPr/>
        </p:nvGrpSpPr>
        <p:grpSpPr>
          <a:xfrm>
            <a:off x="49952" y="1100007"/>
            <a:ext cx="2706758" cy="1769680"/>
            <a:chOff x="3314661" y="1119365"/>
            <a:chExt cx="2619047" cy="1769680"/>
          </a:xfrm>
        </p:grpSpPr>
        <p:pic>
          <p:nvPicPr>
            <p:cNvPr id="27" name="Picture 26" descr="A picture containing factory, building, fire&#10;&#10;Description automatically generated">
              <a:extLst>
                <a:ext uri="{FF2B5EF4-FFF2-40B4-BE49-F238E27FC236}">
                  <a16:creationId xmlns:a16="http://schemas.microsoft.com/office/drawing/2014/main" id="{E56245C4-705A-0F8D-D301-904E44330E9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14661" y="1119365"/>
              <a:ext cx="2619047" cy="1746031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B4E8353-B2A9-672E-7BEE-17B7F1B24FDE}"/>
                </a:ext>
              </a:extLst>
            </p:cNvPr>
            <p:cNvSpPr txBox="1"/>
            <p:nvPr/>
          </p:nvSpPr>
          <p:spPr>
            <a:xfrm>
              <a:off x="3412153" y="2688990"/>
              <a:ext cx="242406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700" b="1" dirty="0"/>
                <a:t>©SFEL: Rolls-Royce SMR VAMP Head Ingot Production</a:t>
              </a:r>
            </a:p>
          </p:txBody>
        </p:sp>
      </p:grpSp>
      <p:pic>
        <p:nvPicPr>
          <p:cNvPr id="7" name="Picture 6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CC277B45-B608-2BC1-0661-53E7D7BAB33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3358" y="2905183"/>
            <a:ext cx="3007642" cy="1691198"/>
          </a:xfrm>
          <a:prstGeom prst="rect">
            <a:avLst/>
          </a:prstGeom>
        </p:spPr>
      </p:pic>
      <p:pic>
        <p:nvPicPr>
          <p:cNvPr id="10" name="Picture 9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08F0C1B3-DA37-77C2-30F2-E112C61B7BA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467" b="11613"/>
          <a:stretch/>
        </p:blipFill>
        <p:spPr>
          <a:xfrm>
            <a:off x="6054708" y="1116735"/>
            <a:ext cx="3007642" cy="171257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F89282CA-2331-99F9-84CE-2FDCD7BC5B1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948" t="40481" r="63408" b="37091"/>
          <a:stretch/>
        </p:blipFill>
        <p:spPr>
          <a:xfrm>
            <a:off x="6054708" y="2883808"/>
            <a:ext cx="1454221" cy="773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9170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62C248-D37F-8C4C-2BCC-B1075F258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2962" y="180000"/>
            <a:ext cx="7444196" cy="516824"/>
          </a:xfrm>
        </p:spPr>
        <p:txBody>
          <a:bodyPr anchor="t">
            <a:normAutofit fontScale="90000"/>
          </a:bodyPr>
          <a:lstStyle/>
          <a:p>
            <a:r>
              <a:rPr lang="en-GB">
                <a:solidFill>
                  <a:srgbClr val="006DFF"/>
                </a:solidFill>
              </a:rPr>
              <a:t>Our Digital Twin</a:t>
            </a:r>
            <a:br>
              <a:rPr lang="en-GB"/>
            </a:br>
            <a:r>
              <a:rPr lang="en-GB" sz="2000" b="1">
                <a:solidFill>
                  <a:srgbClr val="10059F"/>
                </a:solidFill>
              </a:rPr>
              <a:t>Exploit Data as an Asset to Provide Cost and Programme Certainty</a:t>
            </a:r>
            <a:endParaRPr lang="en-GB" sz="20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A76502-B0A8-B5AA-C605-FC88634E2BC5}"/>
              </a:ext>
            </a:extLst>
          </p:cNvPr>
          <p:cNvPicPr>
            <a:picLocks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00" y="1620000"/>
            <a:ext cx="1368000" cy="936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295809E-26B6-5F2B-4E34-86ED5593DD73}"/>
              </a:ext>
            </a:extLst>
          </p:cNvPr>
          <p:cNvSpPr txBox="1">
            <a:spLocks/>
          </p:cNvSpPr>
          <p:nvPr/>
        </p:nvSpPr>
        <p:spPr>
          <a:xfrm>
            <a:off x="108000" y="2628000"/>
            <a:ext cx="1368000" cy="504000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200" b="1">
                <a:solidFill>
                  <a:srgbClr val="10059F"/>
                </a:solidFill>
              </a:rPr>
              <a:t>Integrated Digital Design</a:t>
            </a:r>
          </a:p>
        </p:txBody>
      </p:sp>
      <p:pic>
        <p:nvPicPr>
          <p:cNvPr id="6" name="Content Placeholder 4" descr="A picture containing person, indoor, ceiling, computer&#10;&#10;Description automatically generated">
            <a:extLst>
              <a:ext uri="{FF2B5EF4-FFF2-40B4-BE49-F238E27FC236}">
                <a16:creationId xmlns:a16="http://schemas.microsoft.com/office/drawing/2014/main" id="{1E2F9A03-3C49-E7F3-EAF0-99D532AD1D1D}"/>
              </a:ext>
            </a:extLst>
          </p:cNvPr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000" y="3168000"/>
            <a:ext cx="1368000" cy="972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FBD38F3-7BB5-12A0-8242-8D6E7EC750D4}"/>
              </a:ext>
            </a:extLst>
          </p:cNvPr>
          <p:cNvSpPr txBox="1">
            <a:spLocks/>
          </p:cNvSpPr>
          <p:nvPr/>
        </p:nvSpPr>
        <p:spPr>
          <a:xfrm>
            <a:off x="1620000" y="2628000"/>
            <a:ext cx="1368000" cy="504000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200" b="1">
                <a:solidFill>
                  <a:srgbClr val="10059F"/>
                </a:solidFill>
              </a:rPr>
              <a:t>Connected Supply Chain </a:t>
            </a:r>
          </a:p>
        </p:txBody>
      </p:sp>
      <p:pic>
        <p:nvPicPr>
          <p:cNvPr id="8" name="Picture 1">
            <a:extLst>
              <a:ext uri="{FF2B5EF4-FFF2-40B4-BE49-F238E27FC236}">
                <a16:creationId xmlns:a16="http://schemas.microsoft.com/office/drawing/2014/main" id="{DA2F621F-A457-1FC8-F46E-D11F1C031F52}"/>
              </a:ext>
            </a:extLst>
          </p:cNvPr>
          <p:cNvPicPr>
            <a:picLocks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9999" y="3168000"/>
            <a:ext cx="1368000" cy="972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7600741-B939-7F27-6D39-CFAAB3F250AB}"/>
              </a:ext>
            </a:extLst>
          </p:cNvPr>
          <p:cNvPicPr>
            <a:picLocks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9999" y="1620000"/>
            <a:ext cx="1368000" cy="936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9177731-9811-1BEC-66E9-E489AC0A5EA5}"/>
              </a:ext>
            </a:extLst>
          </p:cNvPr>
          <p:cNvPicPr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1999" y="1620000"/>
            <a:ext cx="1368000" cy="936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234478A5-2563-6C4B-96DC-1E76E801932F}"/>
              </a:ext>
            </a:extLst>
          </p:cNvPr>
          <p:cNvSpPr txBox="1">
            <a:spLocks/>
          </p:cNvSpPr>
          <p:nvPr/>
        </p:nvSpPr>
        <p:spPr>
          <a:xfrm>
            <a:off x="3132000" y="2628000"/>
            <a:ext cx="1368000" cy="504000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200" b="1">
                <a:solidFill>
                  <a:srgbClr val="10059F"/>
                </a:solidFill>
              </a:rPr>
              <a:t>Digital Manufacturing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4CFFFAE-9CF6-4CEC-4D4C-AAF81801523B}"/>
              </a:ext>
            </a:extLst>
          </p:cNvPr>
          <p:cNvPicPr>
            <a:picLocks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2000" y="3168000"/>
            <a:ext cx="1368000" cy="972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4820C1A-5DC4-343C-755E-926BC5B18EED}"/>
              </a:ext>
            </a:extLst>
          </p:cNvPr>
          <p:cNvPicPr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4000" y="1619999"/>
            <a:ext cx="1368000" cy="936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F587A9A9-901C-864A-53AE-D21B7E870ECD}"/>
              </a:ext>
            </a:extLst>
          </p:cNvPr>
          <p:cNvSpPr txBox="1">
            <a:spLocks/>
          </p:cNvSpPr>
          <p:nvPr/>
        </p:nvSpPr>
        <p:spPr>
          <a:xfrm>
            <a:off x="4644000" y="2628000"/>
            <a:ext cx="1368000" cy="504000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200" b="1">
                <a:solidFill>
                  <a:srgbClr val="10059F"/>
                </a:solidFill>
              </a:rPr>
              <a:t>Digital Construction and Assembly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CC8BF3D-6200-B5BF-1E8E-3021AAE94FDD}"/>
              </a:ext>
            </a:extLst>
          </p:cNvPr>
          <p:cNvPicPr>
            <a:picLocks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6000" y="1619999"/>
            <a:ext cx="1368000" cy="936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6A9863C7-85FC-DBF5-B70D-357638C526CF}"/>
              </a:ext>
            </a:extLst>
          </p:cNvPr>
          <p:cNvSpPr txBox="1">
            <a:spLocks/>
          </p:cNvSpPr>
          <p:nvPr/>
        </p:nvSpPr>
        <p:spPr>
          <a:xfrm>
            <a:off x="6155999" y="2628000"/>
            <a:ext cx="1368000" cy="504000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200" b="1">
                <a:solidFill>
                  <a:srgbClr val="10059F"/>
                </a:solidFill>
              </a:rPr>
              <a:t>Digital Optimised Power Generation</a:t>
            </a:r>
          </a:p>
        </p:txBody>
      </p:sp>
      <p:pic>
        <p:nvPicPr>
          <p:cNvPr id="18" name="Picture 1">
            <a:extLst>
              <a:ext uri="{FF2B5EF4-FFF2-40B4-BE49-F238E27FC236}">
                <a16:creationId xmlns:a16="http://schemas.microsoft.com/office/drawing/2014/main" id="{5A1C49C3-FD47-0A95-6C01-9E1E8840DE62}"/>
              </a:ext>
            </a:extLst>
          </p:cNvPr>
          <p:cNvPicPr>
            <a:picLocks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56000" y="3168000"/>
            <a:ext cx="1368000" cy="972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F5C4F025-3F54-22B3-E83D-6451A19D79A9}"/>
              </a:ext>
            </a:extLst>
          </p:cNvPr>
          <p:cNvCxnSpPr>
            <a:cxnSpLocks/>
          </p:cNvCxnSpPr>
          <p:nvPr/>
        </p:nvCxnSpPr>
        <p:spPr>
          <a:xfrm>
            <a:off x="108000" y="1512000"/>
            <a:ext cx="8928000" cy="0"/>
          </a:xfrm>
          <a:prstGeom prst="straightConnector1">
            <a:avLst/>
          </a:prstGeom>
          <a:ln>
            <a:solidFill>
              <a:srgbClr val="10069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93CC88D5-2FCA-54EA-B71F-584339FACEE8}"/>
              </a:ext>
            </a:extLst>
          </p:cNvPr>
          <p:cNvSpPr txBox="1"/>
          <p:nvPr/>
        </p:nvSpPr>
        <p:spPr>
          <a:xfrm>
            <a:off x="3924000" y="1188000"/>
            <a:ext cx="131157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>
                <a:solidFill>
                  <a:srgbClr val="10059F"/>
                </a:solidFill>
              </a:rPr>
              <a:t>Digital Thread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01D7B602-41BF-68DE-E7C6-283405267B15}"/>
              </a:ext>
            </a:extLst>
          </p:cNvPr>
          <p:cNvSpPr txBox="1">
            <a:spLocks/>
          </p:cNvSpPr>
          <p:nvPr/>
        </p:nvSpPr>
        <p:spPr>
          <a:xfrm>
            <a:off x="7668000" y="2628000"/>
            <a:ext cx="1368000" cy="504000"/>
          </a:xfrm>
          <a:prstGeom prst="rect">
            <a:avLst/>
          </a:prstGeom>
        </p:spPr>
        <p:txBody>
          <a:bodyPr vert="horz" lIns="36000" tIns="0" rIns="3600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200" b="1">
                <a:solidFill>
                  <a:srgbClr val="10059F"/>
                </a:solidFill>
              </a:rPr>
              <a:t>Data Driven End-of Life Decommissioning</a:t>
            </a:r>
          </a:p>
        </p:txBody>
      </p:sp>
      <p:pic>
        <p:nvPicPr>
          <p:cNvPr id="22" name="Picture 2" descr="See the source image">
            <a:extLst>
              <a:ext uri="{FF2B5EF4-FFF2-40B4-BE49-F238E27FC236}">
                <a16:creationId xmlns:a16="http://schemas.microsoft.com/office/drawing/2014/main" id="{564FDC3F-144D-E228-7506-3776286240F8}"/>
              </a:ext>
            </a:extLst>
          </p:cNvPr>
          <p:cNvPicPr>
            <a:picLocks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8000" y="1619999"/>
            <a:ext cx="1368000" cy="936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See the source image">
            <a:extLst>
              <a:ext uri="{FF2B5EF4-FFF2-40B4-BE49-F238E27FC236}">
                <a16:creationId xmlns:a16="http://schemas.microsoft.com/office/drawing/2014/main" id="{1DE2EB61-459A-468E-6890-B766666A744B}"/>
              </a:ext>
            </a:extLst>
          </p:cNvPr>
          <p:cNvPicPr>
            <a:picLocks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8000" y="3168000"/>
            <a:ext cx="1368000" cy="972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F3AD0ED8-7DD8-268F-0C07-F75E5AD883F4}"/>
              </a:ext>
            </a:extLst>
          </p:cNvPr>
          <p:cNvCxnSpPr>
            <a:cxnSpLocks/>
          </p:cNvCxnSpPr>
          <p:nvPr/>
        </p:nvCxnSpPr>
        <p:spPr>
          <a:xfrm>
            <a:off x="108000" y="4320000"/>
            <a:ext cx="1368000" cy="0"/>
          </a:xfrm>
          <a:prstGeom prst="straightConnector1">
            <a:avLst/>
          </a:prstGeom>
          <a:ln w="47625">
            <a:solidFill>
              <a:srgbClr val="10069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4014D566-549E-E30D-CC66-EEA793ED30AE}"/>
              </a:ext>
            </a:extLst>
          </p:cNvPr>
          <p:cNvCxnSpPr>
            <a:cxnSpLocks/>
          </p:cNvCxnSpPr>
          <p:nvPr/>
        </p:nvCxnSpPr>
        <p:spPr>
          <a:xfrm>
            <a:off x="1620000" y="4320000"/>
            <a:ext cx="1368000" cy="0"/>
          </a:xfrm>
          <a:prstGeom prst="straightConnector1">
            <a:avLst/>
          </a:prstGeom>
          <a:ln w="47625">
            <a:solidFill>
              <a:srgbClr val="10069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572D8C4-6C9C-618C-DDDF-92448948865F}"/>
              </a:ext>
            </a:extLst>
          </p:cNvPr>
          <p:cNvCxnSpPr>
            <a:cxnSpLocks/>
          </p:cNvCxnSpPr>
          <p:nvPr/>
        </p:nvCxnSpPr>
        <p:spPr>
          <a:xfrm>
            <a:off x="3132000" y="4320000"/>
            <a:ext cx="1368000" cy="0"/>
          </a:xfrm>
          <a:prstGeom prst="straightConnector1">
            <a:avLst/>
          </a:prstGeom>
          <a:ln w="47625">
            <a:solidFill>
              <a:srgbClr val="10069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0CB3137E-EA36-A8CB-65A0-7214B7922B94}"/>
              </a:ext>
            </a:extLst>
          </p:cNvPr>
          <p:cNvCxnSpPr>
            <a:cxnSpLocks/>
          </p:cNvCxnSpPr>
          <p:nvPr/>
        </p:nvCxnSpPr>
        <p:spPr>
          <a:xfrm>
            <a:off x="4644000" y="4320000"/>
            <a:ext cx="1368000" cy="0"/>
          </a:xfrm>
          <a:prstGeom prst="straightConnector1">
            <a:avLst/>
          </a:prstGeom>
          <a:ln w="47625">
            <a:solidFill>
              <a:srgbClr val="10069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E14D6BC2-9884-8FB6-C5F6-C6EC1291C086}"/>
              </a:ext>
            </a:extLst>
          </p:cNvPr>
          <p:cNvCxnSpPr>
            <a:cxnSpLocks/>
          </p:cNvCxnSpPr>
          <p:nvPr/>
        </p:nvCxnSpPr>
        <p:spPr>
          <a:xfrm>
            <a:off x="6156000" y="4320000"/>
            <a:ext cx="1368000" cy="0"/>
          </a:xfrm>
          <a:prstGeom prst="straightConnector1">
            <a:avLst/>
          </a:prstGeom>
          <a:ln w="47625">
            <a:solidFill>
              <a:srgbClr val="10069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E54DF81-D899-6ADA-088D-5A32B51424D5}"/>
              </a:ext>
            </a:extLst>
          </p:cNvPr>
          <p:cNvCxnSpPr>
            <a:cxnSpLocks/>
          </p:cNvCxnSpPr>
          <p:nvPr/>
        </p:nvCxnSpPr>
        <p:spPr>
          <a:xfrm>
            <a:off x="7668000" y="4320000"/>
            <a:ext cx="1368000" cy="0"/>
          </a:xfrm>
          <a:prstGeom prst="straightConnector1">
            <a:avLst/>
          </a:prstGeom>
          <a:ln w="47625">
            <a:solidFill>
              <a:srgbClr val="10069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527286AC-6497-735A-EC70-B1E7B9F560B9}"/>
              </a:ext>
            </a:extLst>
          </p:cNvPr>
          <p:cNvPicPr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4000" y="3168001"/>
            <a:ext cx="1368000" cy="972000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9238223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837856F-54EE-462D-87B8-0E0F89B2C7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837856F-54EE-462D-87B8-0E0F89B2C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FBB26A07-1543-4DA0-AFD1-FE5AA4562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854" y="1060568"/>
            <a:ext cx="1840305" cy="695484"/>
          </a:xfrm>
        </p:spPr>
        <p:txBody>
          <a:bodyPr vert="horz">
            <a:normAutofit fontScale="90000"/>
          </a:bodyPr>
          <a:lstStyle/>
          <a:p>
            <a:r>
              <a:rPr lang="en-GB" sz="1700" dirty="0">
                <a:solidFill>
                  <a:srgbClr val="006DFF"/>
                </a:solidFill>
                <a:ea typeface="+mn-ea"/>
                <a:cs typeface="Arial" panose="020B0604020202020204" pitchFamily="34" charset="0"/>
              </a:rPr>
              <a:t>Energy Park</a:t>
            </a:r>
            <a:br>
              <a:rPr lang="en-GB" dirty="0"/>
            </a:br>
            <a:br>
              <a:rPr lang="en-GB" dirty="0"/>
            </a:br>
            <a:r>
              <a:rPr lang="en-GB" sz="1100" dirty="0">
                <a:solidFill>
                  <a:srgbClr val="666666"/>
                </a:solidFill>
                <a:latin typeface="+mn-lt"/>
                <a:ea typeface="+mn-ea"/>
                <a:cs typeface="+mn-cs"/>
              </a:rPr>
              <a:t>Rolls-Royce SMR’s small footprint allows </a:t>
            </a:r>
            <a:br>
              <a:rPr lang="en-GB" sz="1100" dirty="0">
                <a:solidFill>
                  <a:srgbClr val="666666"/>
                </a:solidFill>
                <a:latin typeface="+mn-lt"/>
                <a:ea typeface="+mn-ea"/>
                <a:cs typeface="+mn-cs"/>
              </a:rPr>
            </a:br>
            <a:r>
              <a:rPr lang="en-GB" sz="1100" dirty="0">
                <a:solidFill>
                  <a:srgbClr val="666666"/>
                </a:solidFill>
                <a:latin typeface="+mn-lt"/>
                <a:ea typeface="+mn-ea"/>
                <a:cs typeface="+mn-cs"/>
              </a:rPr>
              <a:t>co-location: clean energy located with the industry that needs it</a:t>
            </a:r>
            <a:br>
              <a:rPr lang="en-GB" sz="1100" dirty="0">
                <a:solidFill>
                  <a:srgbClr val="666666"/>
                </a:solidFill>
                <a:latin typeface="+mn-lt"/>
                <a:ea typeface="+mn-ea"/>
                <a:cs typeface="+mn-cs"/>
              </a:rPr>
            </a:br>
            <a:br>
              <a:rPr lang="en-GB" sz="1100" dirty="0">
                <a:solidFill>
                  <a:srgbClr val="666666"/>
                </a:solidFill>
                <a:latin typeface="+mn-lt"/>
                <a:ea typeface="+mn-ea"/>
                <a:cs typeface="+mn-cs"/>
              </a:rPr>
            </a:br>
            <a:r>
              <a:rPr lang="en-GB" sz="1100" dirty="0">
                <a:solidFill>
                  <a:srgbClr val="666666"/>
                </a:solidFill>
                <a:latin typeface="+mn-lt"/>
                <a:ea typeface="+mn-ea"/>
                <a:cs typeface="+mn-cs"/>
              </a:rPr>
              <a:t>A magnet for industry and high skilled jobs desiring carbon free energy</a:t>
            </a:r>
            <a:br>
              <a:rPr lang="en-GB" sz="1100" dirty="0">
                <a:solidFill>
                  <a:srgbClr val="666666"/>
                </a:solidFill>
                <a:latin typeface="+mn-lt"/>
                <a:ea typeface="+mn-ea"/>
                <a:cs typeface="+mn-cs"/>
              </a:rPr>
            </a:br>
            <a:br>
              <a:rPr lang="en-GB" sz="1100" dirty="0">
                <a:solidFill>
                  <a:srgbClr val="666666"/>
                </a:solidFill>
                <a:latin typeface="+mn-lt"/>
                <a:ea typeface="+mn-ea"/>
                <a:cs typeface="+mn-cs"/>
              </a:rPr>
            </a:br>
            <a:r>
              <a:rPr lang="en-GB" sz="1100" dirty="0">
                <a:solidFill>
                  <a:srgbClr val="666666"/>
                </a:solidFill>
                <a:latin typeface="+mn-lt"/>
                <a:ea typeface="+mn-ea"/>
                <a:cs typeface="+mn-cs"/>
              </a:rPr>
              <a:t>Removes the need for costly transmission of electrical power over large distances</a:t>
            </a:r>
            <a:br>
              <a:rPr lang="en-GB" sz="1100" dirty="0">
                <a:solidFill>
                  <a:srgbClr val="666666"/>
                </a:solidFill>
                <a:latin typeface="+mn-lt"/>
                <a:ea typeface="+mn-ea"/>
                <a:cs typeface="+mn-cs"/>
              </a:rPr>
            </a:br>
            <a:br>
              <a:rPr lang="en-GB" sz="1300" dirty="0"/>
            </a:b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C1E518F-9576-4512-9AF7-9D5CD18B692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11FE4E-4FB7-451D-AC48-A0B381E4258D}" type="slidenum">
              <a:rPr kumimoji="0" lang="en-GB" sz="13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D81E15-FE3C-42D0-B62E-013687F4692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2386" y="735296"/>
            <a:ext cx="626458" cy="625287"/>
          </a:xfrm>
          <a:prstGeom prst="rect">
            <a:avLst/>
          </a:prstGeom>
        </p:spPr>
      </p:pic>
      <p:sp>
        <p:nvSpPr>
          <p:cNvPr id="50" name="Textfeld 135">
            <a:extLst>
              <a:ext uri="{FF2B5EF4-FFF2-40B4-BE49-F238E27FC236}">
                <a16:creationId xmlns:a16="http://schemas.microsoft.com/office/drawing/2014/main" id="{7F6D9EF7-D498-4A61-81FF-D05EC5991BFD}"/>
              </a:ext>
            </a:extLst>
          </p:cNvPr>
          <p:cNvSpPr txBox="1"/>
          <p:nvPr/>
        </p:nvSpPr>
        <p:spPr bwMode="gray">
          <a:xfrm>
            <a:off x="5762410" y="1293337"/>
            <a:ext cx="1035300" cy="21120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3"/>
              </a:buClr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Heavy Users</a:t>
            </a:r>
            <a:endParaRPr kumimoji="0" lang="en-GB" sz="700" b="0" i="0" u="none" strike="noStrike" kern="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14" name="Ellipse 88">
            <a:extLst>
              <a:ext uri="{FF2B5EF4-FFF2-40B4-BE49-F238E27FC236}">
                <a16:creationId xmlns:a16="http://schemas.microsoft.com/office/drawing/2014/main" id="{F8363E40-B2B6-46FD-9951-D810C38C63AD}"/>
              </a:ext>
            </a:extLst>
          </p:cNvPr>
          <p:cNvSpPr/>
          <p:nvPr/>
        </p:nvSpPr>
        <p:spPr>
          <a:xfrm rot="21150373">
            <a:off x="6424068" y="2588297"/>
            <a:ext cx="812503" cy="407082"/>
          </a:xfrm>
          <a:prstGeom prst="ellipse">
            <a:avLst/>
          </a:prstGeom>
          <a:solidFill>
            <a:srgbClr val="006DFF">
              <a:lumMod val="20000"/>
              <a:lumOff val="80000"/>
              <a:alpha val="37000"/>
            </a:srgbClr>
          </a:solidFill>
          <a:ln w="12700" cap="flat" cmpd="sng" algn="ctr">
            <a:solidFill>
              <a:srgbClr val="10069F"/>
            </a:solidFill>
            <a:prstDash val="solid"/>
            <a:miter lim="800000"/>
          </a:ln>
          <a:effectLst/>
        </p:spPr>
        <p:txBody>
          <a:bodyPr lIns="180000" tIns="180000" rIns="180000" bIns="180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3"/>
              </a:buClr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pic>
        <p:nvPicPr>
          <p:cNvPr id="15" name="Grafik 93">
            <a:extLst>
              <a:ext uri="{FF2B5EF4-FFF2-40B4-BE49-F238E27FC236}">
                <a16:creationId xmlns:a16="http://schemas.microsoft.com/office/drawing/2014/main" id="{BEBFFA0E-1E38-4CED-8FA7-4E59327860EE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033608" y="3454645"/>
            <a:ext cx="411757" cy="411757"/>
          </a:xfrm>
          <a:prstGeom prst="rect">
            <a:avLst/>
          </a:prstGeom>
        </p:spPr>
      </p:pic>
      <p:sp>
        <p:nvSpPr>
          <p:cNvPr id="16" name="Textfeld 103">
            <a:extLst>
              <a:ext uri="{FF2B5EF4-FFF2-40B4-BE49-F238E27FC236}">
                <a16:creationId xmlns:a16="http://schemas.microsoft.com/office/drawing/2014/main" id="{C6B3DA0F-8503-496E-AF1F-56B7F695B926}"/>
              </a:ext>
            </a:extLst>
          </p:cNvPr>
          <p:cNvSpPr txBox="1"/>
          <p:nvPr/>
        </p:nvSpPr>
        <p:spPr bwMode="gray">
          <a:xfrm>
            <a:off x="8168010" y="3093194"/>
            <a:ext cx="950861" cy="349702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3"/>
              </a:buClr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 H</a:t>
            </a:r>
            <a:r>
              <a:rPr kumimoji="0" lang="en-GB" sz="900" b="1" i="0" u="none" strike="noStrike" kern="0" cap="none" spc="0" normalizeH="0" baseline="-2500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2</a:t>
            </a: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 / Ammonia / e-fuel users</a:t>
            </a:r>
          </a:p>
        </p:txBody>
      </p:sp>
      <p:pic>
        <p:nvPicPr>
          <p:cNvPr id="17" name="Grafik 116">
            <a:extLst>
              <a:ext uri="{FF2B5EF4-FFF2-40B4-BE49-F238E27FC236}">
                <a16:creationId xmlns:a16="http://schemas.microsoft.com/office/drawing/2014/main" id="{AA7510D3-AD49-42E8-A041-821A845B2D5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03026" y="3268045"/>
            <a:ext cx="373200" cy="373200"/>
          </a:xfrm>
          <a:prstGeom prst="rect">
            <a:avLst/>
          </a:prstGeom>
        </p:spPr>
      </p:pic>
      <p:sp>
        <p:nvSpPr>
          <p:cNvPr id="18" name="Textfeld 119">
            <a:extLst>
              <a:ext uri="{FF2B5EF4-FFF2-40B4-BE49-F238E27FC236}">
                <a16:creationId xmlns:a16="http://schemas.microsoft.com/office/drawing/2014/main" id="{7CB660A1-613E-437B-B7E6-F42DD3E96BB2}"/>
              </a:ext>
            </a:extLst>
          </p:cNvPr>
          <p:cNvSpPr txBox="1"/>
          <p:nvPr/>
        </p:nvSpPr>
        <p:spPr bwMode="gray">
          <a:xfrm>
            <a:off x="6285358" y="2109234"/>
            <a:ext cx="1035300" cy="349702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3"/>
              </a:buClr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H</a:t>
            </a:r>
            <a:r>
              <a:rPr kumimoji="0" lang="en-GB" sz="900" b="1" i="0" u="none" strike="noStrike" kern="0" cap="none" spc="0" normalizeH="0" baseline="-2500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2</a:t>
            </a: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 storage &amp; market plac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B38C1E0-0BD8-4214-81D2-766F5CC67446}"/>
              </a:ext>
            </a:extLst>
          </p:cNvPr>
          <p:cNvGrpSpPr/>
          <p:nvPr/>
        </p:nvGrpSpPr>
        <p:grpSpPr>
          <a:xfrm>
            <a:off x="5429056" y="3563141"/>
            <a:ext cx="1035300" cy="717225"/>
            <a:chOff x="4421346" y="2271198"/>
            <a:chExt cx="1035300" cy="717225"/>
          </a:xfrm>
        </p:grpSpPr>
        <p:grpSp>
          <p:nvGrpSpPr>
            <p:cNvPr id="20" name="Gruppieren 98">
              <a:extLst>
                <a:ext uri="{FF2B5EF4-FFF2-40B4-BE49-F238E27FC236}">
                  <a16:creationId xmlns:a16="http://schemas.microsoft.com/office/drawing/2014/main" id="{15A0583C-9353-445E-AC5C-E25BDA8A0F1D}"/>
                </a:ext>
              </a:extLst>
            </p:cNvPr>
            <p:cNvGrpSpPr/>
            <p:nvPr/>
          </p:nvGrpSpPr>
          <p:grpSpPr>
            <a:xfrm>
              <a:off x="4679072" y="2271198"/>
              <a:ext cx="510992" cy="532793"/>
              <a:chOff x="7138776" y="318284"/>
              <a:chExt cx="711083" cy="722829"/>
            </a:xfrm>
          </p:grpSpPr>
          <p:pic>
            <p:nvPicPr>
              <p:cNvPr id="23" name="Grafik 99">
                <a:extLst>
                  <a:ext uri="{FF2B5EF4-FFF2-40B4-BE49-F238E27FC236}">
                    <a16:creationId xmlns:a16="http://schemas.microsoft.com/office/drawing/2014/main" id="{86F21E7E-3DAC-4662-8D1D-577295D707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241911" y="460254"/>
                <a:ext cx="457200" cy="457200"/>
              </a:xfrm>
              <a:prstGeom prst="rect">
                <a:avLst/>
              </a:prstGeom>
            </p:spPr>
          </p:pic>
          <p:sp>
            <p:nvSpPr>
              <p:cNvPr id="24" name="Ellipse 100">
                <a:extLst>
                  <a:ext uri="{FF2B5EF4-FFF2-40B4-BE49-F238E27FC236}">
                    <a16:creationId xmlns:a16="http://schemas.microsoft.com/office/drawing/2014/main" id="{DBD16803-B439-4DA9-9D0F-47738C55F7E9}"/>
                  </a:ext>
                </a:extLst>
              </p:cNvPr>
              <p:cNvSpPr/>
              <p:nvPr/>
            </p:nvSpPr>
            <p:spPr>
              <a:xfrm>
                <a:off x="7368484" y="554703"/>
                <a:ext cx="200716" cy="276977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180000" tIns="180000" rIns="180000" bIns="180000"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819C00"/>
                  </a:buClr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25" name="Textfeld 101">
                <a:extLst>
                  <a:ext uri="{FF2B5EF4-FFF2-40B4-BE49-F238E27FC236}">
                    <a16:creationId xmlns:a16="http://schemas.microsoft.com/office/drawing/2014/main" id="{54EA2D3B-B645-495B-BC2A-E1D7A8D07548}"/>
                  </a:ext>
                </a:extLst>
              </p:cNvPr>
              <p:cNvSpPr txBox="1"/>
              <p:nvPr/>
            </p:nvSpPr>
            <p:spPr>
              <a:xfrm>
                <a:off x="7138776" y="318284"/>
                <a:ext cx="711083" cy="722829"/>
              </a:xfrm>
              <a:prstGeom prst="rect">
                <a:avLst/>
              </a:prstGeom>
              <a:noFill/>
            </p:spPr>
            <p:txBody>
              <a:bodyPr wrap="none" lIns="180000" tIns="180000" rIns="180000" bIns="180000" rtlCol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819C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0069F"/>
                    </a:solidFill>
                    <a:effectLst/>
                    <a:uLnTx/>
                    <a:uFillTx/>
                    <a:latin typeface="RR Pioneer"/>
                    <a:ea typeface="+mn-ea"/>
                    <a:cs typeface="+mn-cs"/>
                  </a:rPr>
                  <a:t>H</a:t>
                </a:r>
                <a:r>
                  <a:rPr kumimoji="0" lang="en-GB" sz="1000" b="1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10069F"/>
                    </a:solidFill>
                    <a:effectLst/>
                    <a:uLnTx/>
                    <a:uFillTx/>
                    <a:latin typeface="RR Pioneer"/>
                    <a:ea typeface="+mn-ea"/>
                    <a:cs typeface="+mn-cs"/>
                  </a:rPr>
                  <a:t>2</a:t>
                </a:r>
              </a:p>
            </p:txBody>
          </p:sp>
        </p:grpSp>
        <p:sp>
          <p:nvSpPr>
            <p:cNvPr id="22" name="Textfeld 135">
              <a:extLst>
                <a:ext uri="{FF2B5EF4-FFF2-40B4-BE49-F238E27FC236}">
                  <a16:creationId xmlns:a16="http://schemas.microsoft.com/office/drawing/2014/main" id="{288437E8-793D-4962-9358-4F2EA32A6007}"/>
                </a:ext>
              </a:extLst>
            </p:cNvPr>
            <p:cNvSpPr txBox="1"/>
            <p:nvPr/>
          </p:nvSpPr>
          <p:spPr bwMode="gray">
            <a:xfrm>
              <a:off x="4421346" y="2669499"/>
              <a:ext cx="1035300" cy="318924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60003"/>
                </a:buClr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Electrolysi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60003"/>
                </a:buClr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large</a:t>
              </a:r>
            </a:p>
          </p:txBody>
        </p:sp>
      </p:grpSp>
      <p:pic>
        <p:nvPicPr>
          <p:cNvPr id="26" name="Grafik 139">
            <a:extLst>
              <a:ext uri="{FF2B5EF4-FFF2-40B4-BE49-F238E27FC236}">
                <a16:creationId xmlns:a16="http://schemas.microsoft.com/office/drawing/2014/main" id="{3D12744D-5133-4DA1-8E41-F84878222B62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2835" y="2523338"/>
            <a:ext cx="468506" cy="338952"/>
          </a:xfrm>
          <a:prstGeom prst="rect">
            <a:avLst/>
          </a:prstGeom>
        </p:spPr>
      </p:pic>
      <p:pic>
        <p:nvPicPr>
          <p:cNvPr id="27" name="Grafik 141">
            <a:extLst>
              <a:ext uri="{FF2B5EF4-FFF2-40B4-BE49-F238E27FC236}">
                <a16:creationId xmlns:a16="http://schemas.microsoft.com/office/drawing/2014/main" id="{F1073A82-5D64-4E7F-ADF3-63B228F27683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7893" y="2576326"/>
            <a:ext cx="468506" cy="338952"/>
          </a:xfrm>
          <a:prstGeom prst="rect">
            <a:avLst/>
          </a:prstGeom>
        </p:spPr>
      </p:pic>
      <p:pic>
        <p:nvPicPr>
          <p:cNvPr id="28" name="Grafik 142">
            <a:extLst>
              <a:ext uri="{FF2B5EF4-FFF2-40B4-BE49-F238E27FC236}">
                <a16:creationId xmlns:a16="http://schemas.microsoft.com/office/drawing/2014/main" id="{0505784E-FC86-4DB4-BD05-A38FC3992B2B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6373" y="2617403"/>
            <a:ext cx="468506" cy="338952"/>
          </a:xfrm>
          <a:prstGeom prst="rect">
            <a:avLst/>
          </a:prstGeom>
        </p:spPr>
      </p:pic>
      <p:cxnSp>
        <p:nvCxnSpPr>
          <p:cNvPr id="29" name="Gerader Verbinder 144">
            <a:extLst>
              <a:ext uri="{FF2B5EF4-FFF2-40B4-BE49-F238E27FC236}">
                <a16:creationId xmlns:a16="http://schemas.microsoft.com/office/drawing/2014/main" id="{8843B044-66E4-424D-B87C-0815300E2705}"/>
              </a:ext>
            </a:extLst>
          </p:cNvPr>
          <p:cNvCxnSpPr>
            <a:cxnSpLocks/>
          </p:cNvCxnSpPr>
          <p:nvPr/>
        </p:nvCxnSpPr>
        <p:spPr>
          <a:xfrm rot="-3300000" flipH="1" flipV="1">
            <a:off x="6617729" y="3974393"/>
            <a:ext cx="0" cy="684000"/>
          </a:xfrm>
          <a:prstGeom prst="line">
            <a:avLst/>
          </a:prstGeom>
          <a:noFill/>
          <a:ln w="50800" cap="flat" cmpd="sng" algn="ctr">
            <a:solidFill>
              <a:srgbClr val="006DFF"/>
            </a:solidFill>
            <a:prstDash val="solid"/>
            <a:miter lim="800000"/>
            <a:tailEnd type="oval"/>
          </a:ln>
          <a:effectLst/>
        </p:spPr>
      </p:cxnSp>
      <p:pic>
        <p:nvPicPr>
          <p:cNvPr id="34" name="Bild 187">
            <a:extLst>
              <a:ext uri="{FF2B5EF4-FFF2-40B4-BE49-F238E27FC236}">
                <a16:creationId xmlns:a16="http://schemas.microsoft.com/office/drawing/2014/main" id="{258DB29E-BF34-4CE1-B34B-5FD57BFC140E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2289" y="3667786"/>
            <a:ext cx="471424" cy="471424"/>
          </a:xfrm>
          <a:prstGeom prst="rect">
            <a:avLst/>
          </a:prstGeom>
        </p:spPr>
      </p:pic>
      <p:cxnSp>
        <p:nvCxnSpPr>
          <p:cNvPr id="35" name="Gerader Verbinder 97">
            <a:extLst>
              <a:ext uri="{FF2B5EF4-FFF2-40B4-BE49-F238E27FC236}">
                <a16:creationId xmlns:a16="http://schemas.microsoft.com/office/drawing/2014/main" id="{79B5E1AC-C7DF-4C9E-9B31-58D9C8DB0009}"/>
              </a:ext>
            </a:extLst>
          </p:cNvPr>
          <p:cNvCxnSpPr>
            <a:cxnSpLocks/>
          </p:cNvCxnSpPr>
          <p:nvPr/>
        </p:nvCxnSpPr>
        <p:spPr>
          <a:xfrm rot="7500000" flipV="1">
            <a:off x="5069296" y="1480068"/>
            <a:ext cx="0" cy="1908000"/>
          </a:xfrm>
          <a:prstGeom prst="line">
            <a:avLst/>
          </a:prstGeom>
          <a:noFill/>
          <a:ln w="50800" cap="flat" cmpd="sng" algn="ctr">
            <a:solidFill>
              <a:srgbClr val="10069F"/>
            </a:solidFill>
            <a:prstDash val="solid"/>
            <a:miter lim="800000"/>
            <a:headEnd type="oval"/>
            <a:tailEnd type="triangle"/>
          </a:ln>
          <a:effectLst/>
        </p:spPr>
      </p:cxnSp>
      <p:cxnSp>
        <p:nvCxnSpPr>
          <p:cNvPr id="41" name="Gerader Verbinder 97">
            <a:extLst>
              <a:ext uri="{FF2B5EF4-FFF2-40B4-BE49-F238E27FC236}">
                <a16:creationId xmlns:a16="http://schemas.microsoft.com/office/drawing/2014/main" id="{20455FE3-FEE6-4DC1-8C1A-46D8C985AFBB}"/>
              </a:ext>
            </a:extLst>
          </p:cNvPr>
          <p:cNvCxnSpPr>
            <a:cxnSpLocks/>
          </p:cNvCxnSpPr>
          <p:nvPr/>
        </p:nvCxnSpPr>
        <p:spPr>
          <a:xfrm rot="4200000" flipV="1">
            <a:off x="4614777" y="488431"/>
            <a:ext cx="0" cy="2520000"/>
          </a:xfrm>
          <a:prstGeom prst="line">
            <a:avLst/>
          </a:prstGeom>
          <a:noFill/>
          <a:ln w="50800" cap="flat" cmpd="sng" algn="ctr">
            <a:solidFill>
              <a:srgbClr val="10069F"/>
            </a:solidFill>
            <a:prstDash val="solid"/>
            <a:miter lim="800000"/>
            <a:headEnd type="oval"/>
            <a:tailEnd type="triangle"/>
          </a:ln>
          <a:effectLst/>
        </p:spPr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4A3681A0-8CBA-4ACD-AF36-BB3926A849BF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6164" y="2019436"/>
            <a:ext cx="308052" cy="308052"/>
          </a:xfrm>
          <a:prstGeom prst="rect">
            <a:avLst/>
          </a:prstGeom>
        </p:spPr>
      </p:pic>
      <p:cxnSp>
        <p:nvCxnSpPr>
          <p:cNvPr id="44" name="Gerader Verbinder 97">
            <a:extLst>
              <a:ext uri="{FF2B5EF4-FFF2-40B4-BE49-F238E27FC236}">
                <a16:creationId xmlns:a16="http://schemas.microsoft.com/office/drawing/2014/main" id="{3FAF866D-DCAC-42B0-ADB0-29DCE21A7072}"/>
              </a:ext>
            </a:extLst>
          </p:cNvPr>
          <p:cNvCxnSpPr>
            <a:cxnSpLocks/>
          </p:cNvCxnSpPr>
          <p:nvPr/>
        </p:nvCxnSpPr>
        <p:spPr>
          <a:xfrm rot="-3300000" flipV="1">
            <a:off x="6208000" y="2228768"/>
            <a:ext cx="0" cy="396000"/>
          </a:xfrm>
          <a:prstGeom prst="line">
            <a:avLst/>
          </a:prstGeom>
          <a:noFill/>
          <a:ln w="50800" cap="flat" cmpd="sng" algn="ctr">
            <a:solidFill>
              <a:srgbClr val="006DFF"/>
            </a:solidFill>
            <a:prstDash val="solid"/>
            <a:miter lim="800000"/>
            <a:headEnd type="oval"/>
            <a:tailEnd type="triangle"/>
          </a:ln>
          <a:effectLst/>
        </p:spPr>
      </p:cxnSp>
      <p:sp>
        <p:nvSpPr>
          <p:cNvPr id="47" name="Textfeld 135">
            <a:extLst>
              <a:ext uri="{FF2B5EF4-FFF2-40B4-BE49-F238E27FC236}">
                <a16:creationId xmlns:a16="http://schemas.microsoft.com/office/drawing/2014/main" id="{53A6183E-4DF5-4C68-A129-C9E411680C3F}"/>
              </a:ext>
            </a:extLst>
          </p:cNvPr>
          <p:cNvSpPr txBox="1"/>
          <p:nvPr/>
        </p:nvSpPr>
        <p:spPr bwMode="gray">
          <a:xfrm>
            <a:off x="5290701" y="2272304"/>
            <a:ext cx="661129" cy="214838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3"/>
              </a:buClr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Fuel Cell</a:t>
            </a:r>
          </a:p>
        </p:txBody>
      </p:sp>
      <p:cxnSp>
        <p:nvCxnSpPr>
          <p:cNvPr id="48" name="Gerader Verbinder 97">
            <a:extLst>
              <a:ext uri="{FF2B5EF4-FFF2-40B4-BE49-F238E27FC236}">
                <a16:creationId xmlns:a16="http://schemas.microsoft.com/office/drawing/2014/main" id="{4C3D5A39-11B5-4002-9CAA-CD56C8EAACDE}"/>
              </a:ext>
            </a:extLst>
          </p:cNvPr>
          <p:cNvCxnSpPr>
            <a:cxnSpLocks/>
          </p:cNvCxnSpPr>
          <p:nvPr/>
        </p:nvCxnSpPr>
        <p:spPr>
          <a:xfrm rot="4200000" flipV="1">
            <a:off x="5512449" y="1169058"/>
            <a:ext cx="0" cy="756000"/>
          </a:xfrm>
          <a:prstGeom prst="line">
            <a:avLst/>
          </a:prstGeom>
          <a:ln w="50800">
            <a:solidFill>
              <a:srgbClr val="819C00"/>
            </a:solidFill>
            <a:headEnd type="none"/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9" name="Gerader Verbinder 97">
            <a:extLst>
              <a:ext uri="{FF2B5EF4-FFF2-40B4-BE49-F238E27FC236}">
                <a16:creationId xmlns:a16="http://schemas.microsoft.com/office/drawing/2014/main" id="{20BD3805-B84E-42E7-B71D-7C46EC7C4F92}"/>
              </a:ext>
            </a:extLst>
          </p:cNvPr>
          <p:cNvCxnSpPr>
            <a:cxnSpLocks/>
          </p:cNvCxnSpPr>
          <p:nvPr/>
        </p:nvCxnSpPr>
        <p:spPr>
          <a:xfrm rot="-3300000" flipV="1">
            <a:off x="5423050" y="1555910"/>
            <a:ext cx="0" cy="612000"/>
          </a:xfrm>
          <a:prstGeom prst="line">
            <a:avLst/>
          </a:prstGeom>
          <a:ln w="50800">
            <a:solidFill>
              <a:srgbClr val="819C00"/>
            </a:solidFill>
            <a:headEnd type="oval"/>
            <a:tailEnd type="oval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2" name="Gerader Verbinder 149">
            <a:extLst>
              <a:ext uri="{FF2B5EF4-FFF2-40B4-BE49-F238E27FC236}">
                <a16:creationId xmlns:a16="http://schemas.microsoft.com/office/drawing/2014/main" id="{E423576D-396E-471B-8036-856CAF562522}"/>
              </a:ext>
            </a:extLst>
          </p:cNvPr>
          <p:cNvCxnSpPr>
            <a:cxnSpLocks/>
          </p:cNvCxnSpPr>
          <p:nvPr/>
        </p:nvCxnSpPr>
        <p:spPr>
          <a:xfrm rot="-1200000" flipV="1">
            <a:off x="6414119" y="3966594"/>
            <a:ext cx="1368000" cy="0"/>
          </a:xfrm>
          <a:prstGeom prst="line">
            <a:avLst/>
          </a:prstGeom>
          <a:noFill/>
          <a:ln w="50800" cap="flat" cmpd="sng" algn="ctr">
            <a:solidFill>
              <a:srgbClr val="006DFF"/>
            </a:solidFill>
            <a:prstDash val="solid"/>
            <a:miter lim="800000"/>
            <a:headEnd type="oval"/>
            <a:tailEnd type="triangle"/>
          </a:ln>
          <a:effectLst/>
        </p:spPr>
      </p:cxnSp>
      <p:cxnSp>
        <p:nvCxnSpPr>
          <p:cNvPr id="53" name="Gerader Verbinder 149">
            <a:extLst>
              <a:ext uri="{FF2B5EF4-FFF2-40B4-BE49-F238E27FC236}">
                <a16:creationId xmlns:a16="http://schemas.microsoft.com/office/drawing/2014/main" id="{C4357BBB-C99B-406B-8F31-F3D9A180C88F}"/>
              </a:ext>
            </a:extLst>
          </p:cNvPr>
          <p:cNvCxnSpPr>
            <a:cxnSpLocks/>
          </p:cNvCxnSpPr>
          <p:nvPr/>
        </p:nvCxnSpPr>
        <p:spPr>
          <a:xfrm flipV="1">
            <a:off x="6184088" y="2890919"/>
            <a:ext cx="271281" cy="132185"/>
          </a:xfrm>
          <a:prstGeom prst="line">
            <a:avLst/>
          </a:prstGeom>
          <a:noFill/>
          <a:ln w="50800" cap="flat" cmpd="sng" algn="ctr">
            <a:solidFill>
              <a:srgbClr val="006DFF"/>
            </a:solidFill>
            <a:prstDash val="solid"/>
            <a:miter lim="800000"/>
            <a:headEnd type="oval"/>
            <a:tailEnd type="triangle"/>
          </a:ln>
          <a:effectLst/>
        </p:spPr>
      </p:cxnSp>
      <p:sp>
        <p:nvSpPr>
          <p:cNvPr id="78" name="Textfeld 90">
            <a:extLst>
              <a:ext uri="{FF2B5EF4-FFF2-40B4-BE49-F238E27FC236}">
                <a16:creationId xmlns:a16="http://schemas.microsoft.com/office/drawing/2014/main" id="{A9324F5F-F026-44B1-BC35-C0B2BACFC99A}"/>
              </a:ext>
            </a:extLst>
          </p:cNvPr>
          <p:cNvSpPr txBox="1"/>
          <p:nvPr/>
        </p:nvSpPr>
        <p:spPr bwMode="gray">
          <a:xfrm>
            <a:off x="2350794" y="2977033"/>
            <a:ext cx="1364776" cy="426646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3"/>
              </a:buClr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Rolls-Royce SM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3"/>
              </a:buClr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470MW each uni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3"/>
              </a:buClr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95%+ availability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518399F-E9D2-47F4-B1BC-D4B441166B64}"/>
              </a:ext>
            </a:extLst>
          </p:cNvPr>
          <p:cNvGrpSpPr/>
          <p:nvPr/>
        </p:nvGrpSpPr>
        <p:grpSpPr>
          <a:xfrm>
            <a:off x="5472000" y="2845916"/>
            <a:ext cx="1035300" cy="717225"/>
            <a:chOff x="4421346" y="2271198"/>
            <a:chExt cx="1035300" cy="717225"/>
          </a:xfrm>
        </p:grpSpPr>
        <p:grpSp>
          <p:nvGrpSpPr>
            <p:cNvPr id="68" name="Gruppieren 98">
              <a:extLst>
                <a:ext uri="{FF2B5EF4-FFF2-40B4-BE49-F238E27FC236}">
                  <a16:creationId xmlns:a16="http://schemas.microsoft.com/office/drawing/2014/main" id="{F4D06743-ABFC-417A-93CD-77245B845E94}"/>
                </a:ext>
              </a:extLst>
            </p:cNvPr>
            <p:cNvGrpSpPr/>
            <p:nvPr/>
          </p:nvGrpSpPr>
          <p:grpSpPr>
            <a:xfrm>
              <a:off x="4673346" y="2271198"/>
              <a:ext cx="510992" cy="532793"/>
              <a:chOff x="7130808" y="318284"/>
              <a:chExt cx="711083" cy="722829"/>
            </a:xfrm>
          </p:grpSpPr>
          <p:pic>
            <p:nvPicPr>
              <p:cNvPr id="70" name="Grafik 99">
                <a:extLst>
                  <a:ext uri="{FF2B5EF4-FFF2-40B4-BE49-F238E27FC236}">
                    <a16:creationId xmlns:a16="http://schemas.microsoft.com/office/drawing/2014/main" id="{38CF2CDA-B67B-4F50-BBE2-17A2FF62A4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7241911" y="460254"/>
                <a:ext cx="457200" cy="457200"/>
              </a:xfrm>
              <a:prstGeom prst="rect">
                <a:avLst/>
              </a:prstGeom>
            </p:spPr>
          </p:pic>
          <p:sp>
            <p:nvSpPr>
              <p:cNvPr id="71" name="Ellipse 100">
                <a:extLst>
                  <a:ext uri="{FF2B5EF4-FFF2-40B4-BE49-F238E27FC236}">
                    <a16:creationId xmlns:a16="http://schemas.microsoft.com/office/drawing/2014/main" id="{F15B0C9E-1F63-4FE7-BD30-0853673E6BE9}"/>
                  </a:ext>
                </a:extLst>
              </p:cNvPr>
              <p:cNvSpPr/>
              <p:nvPr/>
            </p:nvSpPr>
            <p:spPr>
              <a:xfrm>
                <a:off x="7368484" y="554703"/>
                <a:ext cx="200716" cy="276977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180000" tIns="180000" rIns="180000" bIns="180000"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819C00"/>
                  </a:buClr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endParaRPr>
              </a:p>
            </p:txBody>
          </p:sp>
          <p:sp>
            <p:nvSpPr>
              <p:cNvPr id="72" name="Textfeld 101">
                <a:extLst>
                  <a:ext uri="{FF2B5EF4-FFF2-40B4-BE49-F238E27FC236}">
                    <a16:creationId xmlns:a16="http://schemas.microsoft.com/office/drawing/2014/main" id="{B992BC51-69C7-4110-9AAC-AB99146ADEE8}"/>
                  </a:ext>
                </a:extLst>
              </p:cNvPr>
              <p:cNvSpPr txBox="1"/>
              <p:nvPr/>
            </p:nvSpPr>
            <p:spPr>
              <a:xfrm>
                <a:off x="7130808" y="318284"/>
                <a:ext cx="711083" cy="722829"/>
              </a:xfrm>
              <a:prstGeom prst="rect">
                <a:avLst/>
              </a:prstGeom>
              <a:noFill/>
            </p:spPr>
            <p:txBody>
              <a:bodyPr wrap="none" lIns="180000" tIns="180000" rIns="180000" bIns="180000" rtlCol="0" anchor="t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819C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GB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0069F"/>
                    </a:solidFill>
                    <a:effectLst/>
                    <a:uLnTx/>
                    <a:uFillTx/>
                    <a:latin typeface="RR Pioneer"/>
                    <a:ea typeface="+mn-ea"/>
                    <a:cs typeface="+mn-cs"/>
                  </a:rPr>
                  <a:t>H</a:t>
                </a:r>
                <a:r>
                  <a:rPr kumimoji="0" lang="en-GB" sz="1000" b="1" i="0" u="none" strike="noStrike" kern="0" cap="none" spc="0" normalizeH="0" baseline="-25000" noProof="0" dirty="0">
                    <a:ln>
                      <a:noFill/>
                    </a:ln>
                    <a:solidFill>
                      <a:srgbClr val="10069F"/>
                    </a:solidFill>
                    <a:effectLst/>
                    <a:uLnTx/>
                    <a:uFillTx/>
                    <a:latin typeface="RR Pioneer"/>
                    <a:ea typeface="+mn-ea"/>
                    <a:cs typeface="+mn-cs"/>
                  </a:rPr>
                  <a:t>2</a:t>
                </a:r>
              </a:p>
            </p:txBody>
          </p:sp>
        </p:grpSp>
        <p:sp>
          <p:nvSpPr>
            <p:cNvPr id="69" name="Textfeld 135">
              <a:extLst>
                <a:ext uri="{FF2B5EF4-FFF2-40B4-BE49-F238E27FC236}">
                  <a16:creationId xmlns:a16="http://schemas.microsoft.com/office/drawing/2014/main" id="{DEFD7FB0-87C0-4069-8B9E-7907C8C99D68}"/>
                </a:ext>
              </a:extLst>
            </p:cNvPr>
            <p:cNvSpPr txBox="1"/>
            <p:nvPr/>
          </p:nvSpPr>
          <p:spPr bwMode="gray">
            <a:xfrm>
              <a:off x="4421346" y="2669499"/>
              <a:ext cx="1035300" cy="318924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60003"/>
                </a:buClr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Electrolysi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60003"/>
                </a:buClr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0" cap="none" spc="0" normalizeH="0" baseline="0" noProof="0" dirty="0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small</a:t>
              </a:r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C1E848C9-E27E-4603-8B8E-E67C01E6390E}"/>
              </a:ext>
            </a:extLst>
          </p:cNvPr>
          <p:cNvSpPr txBox="1"/>
          <p:nvPr/>
        </p:nvSpPr>
        <p:spPr>
          <a:xfrm>
            <a:off x="4496724" y="3091430"/>
            <a:ext cx="463944" cy="272758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>
            <a:defPPr>
              <a:defRPr lang="en-US"/>
            </a:defPPr>
            <a:lvl1pPr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3"/>
              </a:buClr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3"/>
              </a:buClr>
              <a:buSzTx/>
              <a:buFontTx/>
              <a:buNone/>
              <a:tabLst/>
              <a:defRPr/>
            </a:pPr>
            <a:r>
              <a:rPr kumimoji="0" lang="en-GB" sz="700" b="0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PP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3"/>
              </a:buClr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($/ MWh)</a:t>
            </a:r>
          </a:p>
        </p:txBody>
      </p:sp>
      <p:cxnSp>
        <p:nvCxnSpPr>
          <p:cNvPr id="75" name="Gerader Verbinder 97">
            <a:extLst>
              <a:ext uri="{FF2B5EF4-FFF2-40B4-BE49-F238E27FC236}">
                <a16:creationId xmlns:a16="http://schemas.microsoft.com/office/drawing/2014/main" id="{0C4116AD-A2AD-4B6B-BAF6-A7986A2CC6E4}"/>
              </a:ext>
            </a:extLst>
          </p:cNvPr>
          <p:cNvCxnSpPr>
            <a:cxnSpLocks/>
          </p:cNvCxnSpPr>
          <p:nvPr/>
        </p:nvCxnSpPr>
        <p:spPr>
          <a:xfrm rot="7500000" flipV="1">
            <a:off x="4692684" y="1557886"/>
            <a:ext cx="0" cy="2736000"/>
          </a:xfrm>
          <a:prstGeom prst="line">
            <a:avLst/>
          </a:prstGeom>
          <a:noFill/>
          <a:ln w="50800" cap="flat" cmpd="sng" algn="ctr">
            <a:solidFill>
              <a:srgbClr val="8A8A8F"/>
            </a:solidFill>
            <a:prstDash val="solid"/>
            <a:miter lim="800000"/>
            <a:headEnd type="oval"/>
            <a:tailEnd type="triangle"/>
          </a:ln>
          <a:effectLst/>
        </p:spPr>
      </p:cxnSp>
      <p:cxnSp>
        <p:nvCxnSpPr>
          <p:cNvPr id="82" name="Gerader Verbinder 149">
            <a:extLst>
              <a:ext uri="{FF2B5EF4-FFF2-40B4-BE49-F238E27FC236}">
                <a16:creationId xmlns:a16="http://schemas.microsoft.com/office/drawing/2014/main" id="{FFAFB7C9-4F53-4038-83E2-0564559527A8}"/>
              </a:ext>
            </a:extLst>
          </p:cNvPr>
          <p:cNvCxnSpPr>
            <a:cxnSpLocks/>
          </p:cNvCxnSpPr>
          <p:nvPr/>
        </p:nvCxnSpPr>
        <p:spPr>
          <a:xfrm rot="-1200000" flipV="1">
            <a:off x="6638736" y="4125241"/>
            <a:ext cx="1368000" cy="0"/>
          </a:xfrm>
          <a:prstGeom prst="line">
            <a:avLst/>
          </a:prstGeom>
          <a:noFill/>
          <a:ln w="50800" cap="flat" cmpd="sng" algn="ctr">
            <a:solidFill>
              <a:srgbClr val="006DFF"/>
            </a:solidFill>
            <a:prstDash val="solid"/>
            <a:miter lim="800000"/>
            <a:headEnd type="oval"/>
            <a:tailEnd type="triangle"/>
          </a:ln>
          <a:effectLst/>
        </p:spPr>
      </p:cxnSp>
      <p:cxnSp>
        <p:nvCxnSpPr>
          <p:cNvPr id="83" name="Gerader Verbinder 149">
            <a:extLst>
              <a:ext uri="{FF2B5EF4-FFF2-40B4-BE49-F238E27FC236}">
                <a16:creationId xmlns:a16="http://schemas.microsoft.com/office/drawing/2014/main" id="{6B1ACAF9-023A-425F-B81E-658657689FBD}"/>
              </a:ext>
            </a:extLst>
          </p:cNvPr>
          <p:cNvCxnSpPr>
            <a:cxnSpLocks/>
          </p:cNvCxnSpPr>
          <p:nvPr/>
        </p:nvCxnSpPr>
        <p:spPr>
          <a:xfrm rot="-1200000" flipV="1">
            <a:off x="6865341" y="4282908"/>
            <a:ext cx="1368000" cy="0"/>
          </a:xfrm>
          <a:prstGeom prst="line">
            <a:avLst/>
          </a:prstGeom>
          <a:noFill/>
          <a:ln w="50800" cap="flat" cmpd="sng" algn="ctr">
            <a:solidFill>
              <a:srgbClr val="006DFF"/>
            </a:solidFill>
            <a:prstDash val="solid"/>
            <a:miter lim="800000"/>
            <a:headEnd type="oval"/>
            <a:tailEnd type="triangle"/>
          </a:ln>
          <a:effectLst/>
        </p:spPr>
      </p:cxnSp>
      <p:cxnSp>
        <p:nvCxnSpPr>
          <p:cNvPr id="90" name="Gerader Verbinder 124">
            <a:extLst>
              <a:ext uri="{FF2B5EF4-FFF2-40B4-BE49-F238E27FC236}">
                <a16:creationId xmlns:a16="http://schemas.microsoft.com/office/drawing/2014/main" id="{80C4FAEE-FB2B-4233-8FF8-ADA9308F4BED}"/>
              </a:ext>
            </a:extLst>
          </p:cNvPr>
          <p:cNvCxnSpPr>
            <a:cxnSpLocks/>
          </p:cNvCxnSpPr>
          <p:nvPr/>
        </p:nvCxnSpPr>
        <p:spPr>
          <a:xfrm flipH="1" flipV="1">
            <a:off x="4079899" y="1252776"/>
            <a:ext cx="578174" cy="473665"/>
          </a:xfrm>
          <a:prstGeom prst="line">
            <a:avLst/>
          </a:prstGeom>
          <a:noFill/>
          <a:ln w="50800" cap="flat" cmpd="sng" algn="ctr">
            <a:solidFill>
              <a:srgbClr val="8A8A8F"/>
            </a:solidFill>
            <a:prstDash val="dash"/>
            <a:miter lim="800000"/>
            <a:headEnd type="oval"/>
            <a:tailEnd type="triangle"/>
          </a:ln>
          <a:effectLst/>
        </p:spPr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9C943F3-1313-46B4-9028-A7E63FDA1DF4}"/>
              </a:ext>
            </a:extLst>
          </p:cNvPr>
          <p:cNvGrpSpPr/>
          <p:nvPr/>
        </p:nvGrpSpPr>
        <p:grpSpPr>
          <a:xfrm>
            <a:off x="3379231" y="662555"/>
            <a:ext cx="875496" cy="641147"/>
            <a:chOff x="2615119" y="799211"/>
            <a:chExt cx="875496" cy="641147"/>
          </a:xfrm>
        </p:grpSpPr>
        <p:sp>
          <p:nvSpPr>
            <p:cNvPr id="88" name="Textfeld 159">
              <a:extLst>
                <a:ext uri="{FF2B5EF4-FFF2-40B4-BE49-F238E27FC236}">
                  <a16:creationId xmlns:a16="http://schemas.microsoft.com/office/drawing/2014/main" id="{8B037B68-C715-4392-B338-55E48C87D95E}"/>
                </a:ext>
              </a:extLst>
            </p:cNvPr>
            <p:cNvSpPr txBox="1"/>
            <p:nvPr/>
          </p:nvSpPr>
          <p:spPr bwMode="gray">
            <a:xfrm>
              <a:off x="2615119" y="1229155"/>
              <a:ext cx="875496" cy="211203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60003"/>
                </a:buClr>
                <a:buSzTx/>
                <a:buFontTx/>
                <a:buNone/>
                <a:tabLst/>
                <a:defRPr/>
              </a:pPr>
              <a:r>
                <a: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Grid</a:t>
              </a:r>
            </a:p>
          </p:txBody>
        </p:sp>
        <p:pic>
          <p:nvPicPr>
            <p:cNvPr id="92" name="Grafik 121">
              <a:extLst>
                <a:ext uri="{FF2B5EF4-FFF2-40B4-BE49-F238E27FC236}">
                  <a16:creationId xmlns:a16="http://schemas.microsoft.com/office/drawing/2014/main" id="{FC34AAFD-C8C8-41B8-A2C3-807C472710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824267" y="799211"/>
              <a:ext cx="457200" cy="457200"/>
            </a:xfrm>
            <a:prstGeom prst="rect">
              <a:avLst/>
            </a:prstGeom>
          </p:spPr>
        </p:pic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341FBB23-1695-4A6C-84BE-AF21C2E88670}"/>
              </a:ext>
            </a:extLst>
          </p:cNvPr>
          <p:cNvGrpSpPr/>
          <p:nvPr/>
        </p:nvGrpSpPr>
        <p:grpSpPr>
          <a:xfrm>
            <a:off x="3735030" y="171813"/>
            <a:ext cx="4925750" cy="387225"/>
            <a:chOff x="4067999" y="144000"/>
            <a:chExt cx="4397907" cy="248975"/>
          </a:xfrm>
        </p:grpSpPr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F20BBDD0-0638-4AFC-915F-90C1051F61B6}"/>
                </a:ext>
              </a:extLst>
            </p:cNvPr>
            <p:cNvGrpSpPr/>
            <p:nvPr/>
          </p:nvGrpSpPr>
          <p:grpSpPr>
            <a:xfrm>
              <a:off x="4067999" y="144000"/>
              <a:ext cx="4397907" cy="248975"/>
              <a:chOff x="4067999" y="144000"/>
              <a:chExt cx="4397907" cy="248975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D5BF1038-9129-471A-80A1-82320E802A7A}"/>
                  </a:ext>
                </a:extLst>
              </p:cNvPr>
              <p:cNvGrpSpPr/>
              <p:nvPr/>
            </p:nvGrpSpPr>
            <p:grpSpPr>
              <a:xfrm>
                <a:off x="4067999" y="144000"/>
                <a:ext cx="4397907" cy="248975"/>
                <a:chOff x="4067999" y="144000"/>
                <a:chExt cx="4397907" cy="248975"/>
              </a:xfrm>
            </p:grpSpPr>
            <p:cxnSp>
              <p:nvCxnSpPr>
                <p:cNvPr id="98" name="Gerader Verbinder 153">
                  <a:extLst>
                    <a:ext uri="{FF2B5EF4-FFF2-40B4-BE49-F238E27FC236}">
                      <a16:creationId xmlns:a16="http://schemas.microsoft.com/office/drawing/2014/main" id="{B8C5DFF8-B47B-4DA0-BD84-908E5DB7F55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06900" y="268104"/>
                  <a:ext cx="180000" cy="0"/>
                </a:xfrm>
                <a:prstGeom prst="line">
                  <a:avLst/>
                </a:prstGeom>
                <a:noFill/>
                <a:ln w="6350" cap="flat" cmpd="sng" algn="ctr">
                  <a:solidFill>
                    <a:srgbClr val="666666"/>
                  </a:solidFill>
                  <a:prstDash val="solid"/>
                  <a:miter lim="800000"/>
                  <a:headEnd type="oval"/>
                  <a:tailEnd type="oval"/>
                </a:ln>
                <a:effectLst/>
              </p:spPr>
            </p:cxnSp>
            <p:grpSp>
              <p:nvGrpSpPr>
                <p:cNvPr id="99" name="Group 98">
                  <a:extLst>
                    <a:ext uri="{FF2B5EF4-FFF2-40B4-BE49-F238E27FC236}">
                      <a16:creationId xmlns:a16="http://schemas.microsoft.com/office/drawing/2014/main" id="{91321E9E-85B4-4782-8563-69C512E2C2A4}"/>
                    </a:ext>
                  </a:extLst>
                </p:cNvPr>
                <p:cNvGrpSpPr/>
                <p:nvPr/>
              </p:nvGrpSpPr>
              <p:grpSpPr>
                <a:xfrm>
                  <a:off x="4067999" y="144000"/>
                  <a:ext cx="4397907" cy="248975"/>
                  <a:chOff x="4067999" y="144000"/>
                  <a:chExt cx="4397907" cy="248975"/>
                </a:xfrm>
              </p:grpSpPr>
              <p:grpSp>
                <p:nvGrpSpPr>
                  <p:cNvPr id="100" name="Group 99">
                    <a:extLst>
                      <a:ext uri="{FF2B5EF4-FFF2-40B4-BE49-F238E27FC236}">
                        <a16:creationId xmlns:a16="http://schemas.microsoft.com/office/drawing/2014/main" id="{86CD7F37-02C1-4CF3-9509-7D3328EDEAFD}"/>
                      </a:ext>
                    </a:extLst>
                  </p:cNvPr>
                  <p:cNvGrpSpPr/>
                  <p:nvPr/>
                </p:nvGrpSpPr>
                <p:grpSpPr>
                  <a:xfrm>
                    <a:off x="4067999" y="144000"/>
                    <a:ext cx="4397907" cy="248975"/>
                    <a:chOff x="2748927" y="1932760"/>
                    <a:chExt cx="4397907" cy="248975"/>
                  </a:xfrm>
                </p:grpSpPr>
                <p:cxnSp>
                  <p:nvCxnSpPr>
                    <p:cNvPr id="102" name="Gerader Verbinder 112">
                      <a:extLst>
                        <a:ext uri="{FF2B5EF4-FFF2-40B4-BE49-F238E27FC236}">
                          <a16:creationId xmlns:a16="http://schemas.microsoft.com/office/drawing/2014/main" id="{9939F9A3-774A-4953-8E95-B0C4A4BCA1B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2876840" y="2062751"/>
                      <a:ext cx="180000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rgbClr val="10069F"/>
                      </a:solidFill>
                      <a:prstDash val="solid"/>
                      <a:miter lim="800000"/>
                      <a:headEnd type="oval"/>
                      <a:tailEnd type="oval"/>
                    </a:ln>
                    <a:effectLst/>
                  </p:spPr>
                </p:cxnSp>
                <p:sp>
                  <p:nvSpPr>
                    <p:cNvPr id="103" name="Textfeld 115">
                      <a:extLst>
                        <a:ext uri="{FF2B5EF4-FFF2-40B4-BE49-F238E27FC236}">
                          <a16:creationId xmlns:a16="http://schemas.microsoft.com/office/drawing/2014/main" id="{7D805EBF-6E5D-4DAE-9111-DC3602F9B41B}"/>
                        </a:ext>
                      </a:extLst>
                    </p:cNvPr>
                    <p:cNvSpPr txBox="1"/>
                    <p:nvPr/>
                  </p:nvSpPr>
                  <p:spPr bwMode="gray">
                    <a:xfrm>
                      <a:off x="3107216" y="1955037"/>
                      <a:ext cx="559327" cy="205059"/>
                    </a:xfrm>
                    <a:prstGeom prst="rect">
                      <a:avLst/>
                    </a:prstGeom>
                    <a:noFill/>
                  </p:spPr>
                  <p:txBody>
                    <a:bodyPr vert="horz" wrap="square" lIns="36000" tIns="36000" rIns="36000" bIns="36000" rtlCol="0">
                      <a:sp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6000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kern="0" dirty="0">
                          <a:solidFill>
                            <a:srgbClr val="10069F"/>
                          </a:solidFill>
                          <a:latin typeface="RR Pioneer"/>
                        </a:rPr>
                        <a:t>Electrical P</a:t>
                      </a:r>
                      <a:r>
                        <a:rPr kumimoji="0" lang="en-GB" sz="8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10069F"/>
                          </a:solidFill>
                          <a:effectLst/>
                          <a:uLnTx/>
                          <a:uFillTx/>
                          <a:latin typeface="RR Pioneer"/>
                          <a:ea typeface="+mn-ea"/>
                          <a:cs typeface="+mn-cs"/>
                        </a:rPr>
                        <a:t>ower</a:t>
                      </a:r>
                      <a:endParaRPr kumimoji="0" lang="en-GB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10069F"/>
                        </a:solidFill>
                        <a:effectLst/>
                        <a:uLnTx/>
                        <a:uFillTx/>
                        <a:latin typeface="RR Pioneer"/>
                        <a:ea typeface="+mn-ea"/>
                        <a:cs typeface="+mn-cs"/>
                      </a:endParaRPr>
                    </a:p>
                  </p:txBody>
                </p:sp>
                <p:cxnSp>
                  <p:nvCxnSpPr>
                    <p:cNvPr id="104" name="Gerader Verbinder 153">
                      <a:extLst>
                        <a:ext uri="{FF2B5EF4-FFF2-40B4-BE49-F238E27FC236}">
                          <a16:creationId xmlns:a16="http://schemas.microsoft.com/office/drawing/2014/main" id="{2D42064A-1905-4016-9872-A39E5FA8B86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5484810" y="2048411"/>
                      <a:ext cx="180000" cy="0"/>
                    </a:xfrm>
                    <a:prstGeom prst="line">
                      <a:avLst/>
                    </a:prstGeom>
                    <a:noFill/>
                    <a:ln w="6350" cap="flat" cmpd="sng" algn="ctr">
                      <a:solidFill>
                        <a:srgbClr val="006DFF"/>
                      </a:solidFill>
                      <a:prstDash val="solid"/>
                      <a:miter lim="800000"/>
                      <a:headEnd type="oval"/>
                      <a:tailEnd type="oval"/>
                    </a:ln>
                    <a:effectLst/>
                  </p:spPr>
                </p:cxnSp>
                <p:sp>
                  <p:nvSpPr>
                    <p:cNvPr id="105" name="Textfeld 154">
                      <a:extLst>
                        <a:ext uri="{FF2B5EF4-FFF2-40B4-BE49-F238E27FC236}">
                          <a16:creationId xmlns:a16="http://schemas.microsoft.com/office/drawing/2014/main" id="{0BC038DA-6756-423E-9866-7256CBD561B0}"/>
                        </a:ext>
                      </a:extLst>
                    </p:cNvPr>
                    <p:cNvSpPr txBox="1"/>
                    <p:nvPr/>
                  </p:nvSpPr>
                  <p:spPr bwMode="gray">
                    <a:xfrm>
                      <a:off x="5766475" y="1984146"/>
                      <a:ext cx="612000" cy="195814"/>
                    </a:xfrm>
                    <a:prstGeom prst="rect">
                      <a:avLst/>
                    </a:prstGeom>
                    <a:noFill/>
                  </p:spPr>
                  <p:txBody>
                    <a:bodyPr vert="horz" wrap="square" lIns="36000" tIns="36000" rIns="36000" bIns="3600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E60003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kern="0" dirty="0">
                          <a:solidFill>
                            <a:srgbClr val="10069F"/>
                          </a:solidFill>
                          <a:latin typeface="RR Pioneer"/>
                        </a:rPr>
                        <a:t>Hy</a:t>
                      </a:r>
                      <a:r>
                        <a:rPr kumimoji="0" lang="en-GB" sz="800" b="0" i="0" u="none" strike="noStrike" kern="0" cap="none" spc="0" normalizeH="0" baseline="0" noProof="0" dirty="0" err="1">
                          <a:ln>
                            <a:noFill/>
                          </a:ln>
                          <a:solidFill>
                            <a:srgbClr val="10069F"/>
                          </a:solidFill>
                          <a:effectLst/>
                          <a:uLnTx/>
                          <a:uFillTx/>
                          <a:latin typeface="RR Pioneer"/>
                          <a:ea typeface="+mn-ea"/>
                          <a:cs typeface="+mn-cs"/>
                        </a:rPr>
                        <a:t>drogen</a:t>
                      </a:r>
                      <a:endParaRPr kumimoji="0" lang="en-GB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10069F"/>
                        </a:solidFill>
                        <a:effectLst/>
                        <a:uLnTx/>
                        <a:uFillTx/>
                        <a:latin typeface="RR Pioneer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06" name="Rechteck 155">
                      <a:extLst>
                        <a:ext uri="{FF2B5EF4-FFF2-40B4-BE49-F238E27FC236}">
                          <a16:creationId xmlns:a16="http://schemas.microsoft.com/office/drawing/2014/main" id="{37380B69-D5D5-4DE8-A989-E353449ABE6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748927" y="1932760"/>
                      <a:ext cx="4397907" cy="248975"/>
                    </a:xfrm>
                    <a:prstGeom prst="rect">
                      <a:avLst/>
                    </a:prstGeom>
                    <a:noFill/>
                    <a:ln w="12700" cap="flat" cmpd="sng" algn="ctr">
                      <a:solidFill>
                        <a:srgbClr val="000000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lIns="180000" tIns="180000" rIns="180000" bIns="180000" rtlCol="0" anchor="t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819C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RR Pioneer"/>
                        <a:ea typeface="+mn-ea"/>
                        <a:cs typeface="+mn-cs"/>
                      </a:endParaRPr>
                    </a:p>
                  </p:txBody>
                </p:sp>
              </p:grpSp>
              <p:sp>
                <p:nvSpPr>
                  <p:cNvPr id="101" name="Textfeld 154">
                    <a:extLst>
                      <a:ext uri="{FF2B5EF4-FFF2-40B4-BE49-F238E27FC236}">
                        <a16:creationId xmlns:a16="http://schemas.microsoft.com/office/drawing/2014/main" id="{32B788ED-9976-4C12-B0EC-3D46A3BD2FB4}"/>
                      </a:ext>
                    </a:extLst>
                  </p:cNvPr>
                  <p:cNvSpPr txBox="1"/>
                  <p:nvPr/>
                </p:nvSpPr>
                <p:spPr bwMode="gray">
                  <a:xfrm>
                    <a:off x="5246118" y="155785"/>
                    <a:ext cx="547077" cy="205059"/>
                  </a:xfrm>
                  <a:prstGeom prst="rect">
                    <a:avLst/>
                  </a:prstGeom>
                  <a:noFill/>
                </p:spPr>
                <p:txBody>
                  <a:bodyPr vert="horz" wrap="square" lIns="36000" tIns="36000" rIns="36000" bIns="36000" rtlCol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E60003"/>
                      </a:buClr>
                      <a:buSzTx/>
                      <a:buFontTx/>
                      <a:buNone/>
                      <a:tabLst/>
                      <a:defRPr/>
                    </a:pPr>
                    <a:r>
                      <a:rPr lang="en-GB" sz="800" kern="0" dirty="0">
                        <a:solidFill>
                          <a:srgbClr val="10069F"/>
                        </a:solidFill>
                        <a:latin typeface="RR Pioneer"/>
                      </a:rPr>
                      <a:t>E</a:t>
                    </a:r>
                    <a:r>
                      <a:rPr kumimoji="0" lang="en-GB" sz="800" b="0" i="0" u="none" strike="noStrike" kern="0" cap="none" spc="0" normalizeH="0" baseline="0" noProof="0" dirty="0" err="1">
                        <a:ln>
                          <a:noFill/>
                        </a:ln>
                        <a:solidFill>
                          <a:srgbClr val="10069F"/>
                        </a:solidFill>
                        <a:effectLst/>
                        <a:uLnTx/>
                        <a:uFillTx/>
                        <a:latin typeface="RR Pioneer"/>
                        <a:ea typeface="+mn-ea"/>
                        <a:cs typeface="+mn-cs"/>
                      </a:rPr>
                      <a:t>xcess</a:t>
                    </a:r>
                    <a:r>
                      <a:rPr kumimoji="0" lang="en-GB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10069F"/>
                        </a:solidFill>
                        <a:effectLst/>
                        <a:uLnTx/>
                        <a:uFillTx/>
                        <a:latin typeface="RR Pioneer"/>
                        <a:ea typeface="+mn-ea"/>
                        <a:cs typeface="+mn-cs"/>
                      </a:rPr>
                      <a:t> </a:t>
                    </a:r>
                  </a:p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E60003"/>
                      </a:buClr>
                      <a:buSzTx/>
                      <a:buFontTx/>
                      <a:buNone/>
                      <a:tabLst/>
                      <a:defRPr/>
                    </a:pPr>
                    <a:r>
                      <a:rPr lang="en-GB" sz="800" kern="0" dirty="0">
                        <a:solidFill>
                          <a:srgbClr val="10069F"/>
                        </a:solidFill>
                        <a:latin typeface="RR Pioneer"/>
                      </a:rPr>
                      <a:t>P</a:t>
                    </a:r>
                    <a:r>
                      <a:rPr kumimoji="0" lang="en-GB" sz="800" b="0" i="0" u="none" strike="noStrike" kern="0" cap="none" spc="0" normalizeH="0" baseline="0" noProof="0" dirty="0" err="1">
                        <a:ln>
                          <a:noFill/>
                        </a:ln>
                        <a:solidFill>
                          <a:srgbClr val="10069F"/>
                        </a:solidFill>
                        <a:effectLst/>
                        <a:uLnTx/>
                        <a:uFillTx/>
                        <a:latin typeface="RR Pioneer"/>
                        <a:ea typeface="+mn-ea"/>
                        <a:cs typeface="+mn-cs"/>
                      </a:rPr>
                      <a:t>ower</a:t>
                    </a:r>
                    <a:endParaRPr kumimoji="0" lang="en-GB" sz="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10069F"/>
                      </a:solidFill>
                      <a:effectLst/>
                      <a:uLnTx/>
                      <a:uFillTx/>
                      <a:latin typeface="RR Pioneer"/>
                      <a:ea typeface="+mn-ea"/>
                      <a:cs typeface="+mn-cs"/>
                    </a:endParaRPr>
                  </a:p>
                </p:txBody>
              </p:sp>
            </p:grpSp>
          </p:grpSp>
          <p:cxnSp>
            <p:nvCxnSpPr>
              <p:cNvPr id="97" name="Gerader Verbinder 153">
                <a:extLst>
                  <a:ext uri="{FF2B5EF4-FFF2-40B4-BE49-F238E27FC236}">
                    <a16:creationId xmlns:a16="http://schemas.microsoft.com/office/drawing/2014/main" id="{CC28A5D1-7DB4-43E1-8AAB-CEED106573A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826568" y="263324"/>
                <a:ext cx="180000" cy="0"/>
              </a:xfrm>
              <a:prstGeom prst="line">
                <a:avLst/>
              </a:prstGeom>
              <a:ln>
                <a:solidFill>
                  <a:srgbClr val="819C00"/>
                </a:solidFill>
                <a:headEnd type="oval"/>
                <a:tailEnd type="oval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</p:grpSp>
        <p:sp>
          <p:nvSpPr>
            <p:cNvPr id="95" name="Textfeld 154">
              <a:extLst>
                <a:ext uri="{FF2B5EF4-FFF2-40B4-BE49-F238E27FC236}">
                  <a16:creationId xmlns:a16="http://schemas.microsoft.com/office/drawing/2014/main" id="{E08D5D6E-3B3B-4DD4-BDC4-3C9EAC941169}"/>
                </a:ext>
              </a:extLst>
            </p:cNvPr>
            <p:cNvSpPr txBox="1"/>
            <p:nvPr/>
          </p:nvSpPr>
          <p:spPr bwMode="gray">
            <a:xfrm>
              <a:off x="6009521" y="155624"/>
              <a:ext cx="746298" cy="205059"/>
            </a:xfrm>
            <a:prstGeom prst="rect">
              <a:avLst/>
            </a:prstGeom>
            <a:noFill/>
          </p:spPr>
          <p:txBody>
            <a:bodyPr vert="horz" wrap="square" lIns="36000" tIns="36000" rIns="36000" bIns="36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60003"/>
                </a:buClr>
                <a:buSzTx/>
                <a:buFontTx/>
                <a:buNone/>
                <a:tabLst/>
                <a:defRPr/>
              </a:pPr>
              <a:r>
                <a:rPr lang="en-GB" sz="800" kern="0" dirty="0">
                  <a:solidFill>
                    <a:srgbClr val="10069F"/>
                  </a:solidFill>
                  <a:latin typeface="RR Pioneer"/>
                </a:rPr>
                <a:t>Clean B</a:t>
              </a:r>
              <a:r>
                <a:rPr kumimoji="0" lang="en-GB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ackup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60003"/>
                </a:buClr>
                <a:buSzTx/>
                <a:buFontTx/>
                <a:buNone/>
                <a:tabLst/>
                <a:defRPr/>
              </a:pPr>
              <a:r>
                <a:rPr lang="en-GB" sz="800" kern="0" dirty="0">
                  <a:solidFill>
                    <a:srgbClr val="10069F"/>
                  </a:solidFill>
                  <a:latin typeface="RR Pioneer"/>
                </a:rPr>
                <a:t>P</a:t>
              </a:r>
              <a:r>
                <a:rPr kumimoji="0" lang="en-GB" sz="8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10069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ower</a:t>
              </a:r>
              <a:endPara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endParaRPr>
            </a:p>
          </p:txBody>
        </p:sp>
      </p:grpSp>
      <p:pic>
        <p:nvPicPr>
          <p:cNvPr id="80" name="Picture 79">
            <a:extLst>
              <a:ext uri="{FF2B5EF4-FFF2-40B4-BE49-F238E27FC236}">
                <a16:creationId xmlns:a16="http://schemas.microsoft.com/office/drawing/2014/main" id="{B8658796-2098-4246-A125-7FDA23D97EAC}"/>
              </a:ext>
            </a:extLst>
          </p:cNvPr>
          <p:cNvPicPr/>
          <p:nvPr/>
        </p:nvPicPr>
        <p:blipFill rotWithShape="1">
          <a:blip r:embed="rId1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07056" y="2218687"/>
            <a:ext cx="1078861" cy="208081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A9C11742-4D00-47C2-A6BF-C599D699D9E4}"/>
              </a:ext>
            </a:extLst>
          </p:cNvPr>
          <p:cNvPicPr/>
          <p:nvPr/>
        </p:nvPicPr>
        <p:blipFill rotWithShape="1">
          <a:blip r:embed="rId1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11779" y="2446865"/>
            <a:ext cx="1078861" cy="208081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72455D2C-CB12-4150-B85C-4576A505696D}"/>
              </a:ext>
            </a:extLst>
          </p:cNvPr>
          <p:cNvPicPr/>
          <p:nvPr/>
        </p:nvPicPr>
        <p:blipFill rotWithShape="1">
          <a:blip r:embed="rId1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14846" y="2682838"/>
            <a:ext cx="1078861" cy="208081"/>
          </a:xfrm>
          <a:prstGeom prst="rect">
            <a:avLst/>
          </a:prstGeom>
        </p:spPr>
      </p:pic>
      <p:cxnSp>
        <p:nvCxnSpPr>
          <p:cNvPr id="86" name="Gerader Verbinder 97">
            <a:extLst>
              <a:ext uri="{FF2B5EF4-FFF2-40B4-BE49-F238E27FC236}">
                <a16:creationId xmlns:a16="http://schemas.microsoft.com/office/drawing/2014/main" id="{4709319F-F951-4827-9EE1-8A558FC98E51}"/>
              </a:ext>
            </a:extLst>
          </p:cNvPr>
          <p:cNvCxnSpPr>
            <a:cxnSpLocks/>
          </p:cNvCxnSpPr>
          <p:nvPr/>
        </p:nvCxnSpPr>
        <p:spPr>
          <a:xfrm>
            <a:off x="7185486" y="3011946"/>
            <a:ext cx="507461" cy="381377"/>
          </a:xfrm>
          <a:prstGeom prst="line">
            <a:avLst/>
          </a:prstGeom>
          <a:noFill/>
          <a:ln w="50800" cap="flat" cmpd="sng" algn="ctr">
            <a:solidFill>
              <a:srgbClr val="006DFF"/>
            </a:solidFill>
            <a:prstDash val="solid"/>
            <a:miter lim="800000"/>
            <a:headEnd type="oval"/>
            <a:tailEnd type="triangle"/>
          </a:ln>
          <a:effectLst/>
        </p:spPr>
      </p:cxnSp>
      <p:sp>
        <p:nvSpPr>
          <p:cNvPr id="87" name="Textfeld 119">
            <a:extLst>
              <a:ext uri="{FF2B5EF4-FFF2-40B4-BE49-F238E27FC236}">
                <a16:creationId xmlns:a16="http://schemas.microsoft.com/office/drawing/2014/main" id="{49B425F6-7B3A-4CF6-9CBA-988157236A1D}"/>
              </a:ext>
            </a:extLst>
          </p:cNvPr>
          <p:cNvSpPr txBox="1"/>
          <p:nvPr/>
        </p:nvSpPr>
        <p:spPr bwMode="gray">
          <a:xfrm>
            <a:off x="6657647" y="812289"/>
            <a:ext cx="1035300" cy="349702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3"/>
              </a:buClr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Potential for 100% availability</a:t>
            </a:r>
          </a:p>
        </p:txBody>
      </p:sp>
      <p:sp>
        <p:nvSpPr>
          <p:cNvPr id="76" name="Footer Placeholder 3">
            <a:extLst>
              <a:ext uri="{FF2B5EF4-FFF2-40B4-BE49-F238E27FC236}">
                <a16:creationId xmlns:a16="http://schemas.microsoft.com/office/drawing/2014/main" id="{FBFFB2E1-8920-4AE9-852D-5B1A33B64958}"/>
              </a:ext>
            </a:extLst>
          </p:cNvPr>
          <p:cNvSpPr txBox="1">
            <a:spLocks/>
          </p:cNvSpPr>
          <p:nvPr/>
        </p:nvSpPr>
        <p:spPr>
          <a:xfrm>
            <a:off x="408333" y="4686924"/>
            <a:ext cx="1785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rgbClr val="666666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>
              <a:defRPr/>
            </a:pPr>
            <a:r>
              <a:rPr lang="en-GB" dirty="0"/>
              <a:t>Non-Confidential</a:t>
            </a:r>
          </a:p>
          <a:p>
            <a:pPr defTabSz="685783">
              <a:defRPr/>
            </a:pPr>
            <a:r>
              <a:rPr lang="en-GB" dirty="0"/>
              <a:t>© 2022 Rolls-Royce SMR | Not Subject to Export Control </a:t>
            </a:r>
          </a:p>
        </p:txBody>
      </p:sp>
      <p:cxnSp>
        <p:nvCxnSpPr>
          <p:cNvPr id="73" name="Gerader Verbinder 153">
            <a:extLst>
              <a:ext uri="{FF2B5EF4-FFF2-40B4-BE49-F238E27FC236}">
                <a16:creationId xmlns:a16="http://schemas.microsoft.com/office/drawing/2014/main" id="{C15F44C7-203D-4F2E-839D-88DFE71799D8}"/>
              </a:ext>
            </a:extLst>
          </p:cNvPr>
          <p:cNvCxnSpPr>
            <a:cxnSpLocks/>
          </p:cNvCxnSpPr>
          <p:nvPr/>
        </p:nvCxnSpPr>
        <p:spPr>
          <a:xfrm>
            <a:off x="7760896" y="349731"/>
            <a:ext cx="186963" cy="0"/>
          </a:xfrm>
          <a:prstGeom prst="line">
            <a:avLst/>
          </a:prstGeom>
          <a:noFill/>
          <a:ln w="6350" cap="flat" cmpd="sng" algn="ctr">
            <a:solidFill>
              <a:schemeClr val="accent3"/>
            </a:solidFill>
            <a:prstDash val="solid"/>
            <a:miter lim="800000"/>
            <a:headEnd type="oval"/>
            <a:tailEnd type="oval"/>
          </a:ln>
          <a:effectLst/>
        </p:spPr>
      </p:cxnSp>
      <p:sp>
        <p:nvSpPr>
          <p:cNvPr id="77" name="Textfeld 154">
            <a:extLst>
              <a:ext uri="{FF2B5EF4-FFF2-40B4-BE49-F238E27FC236}">
                <a16:creationId xmlns:a16="http://schemas.microsoft.com/office/drawing/2014/main" id="{ADD744EC-D05F-4A80-A33F-AD7F1601999F}"/>
              </a:ext>
            </a:extLst>
          </p:cNvPr>
          <p:cNvSpPr txBox="1"/>
          <p:nvPr/>
        </p:nvSpPr>
        <p:spPr bwMode="gray">
          <a:xfrm>
            <a:off x="7945127" y="200240"/>
            <a:ext cx="723963" cy="318924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3"/>
              </a:buClr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Thermal Power</a:t>
            </a:r>
          </a:p>
        </p:txBody>
      </p:sp>
      <p:pic>
        <p:nvPicPr>
          <p:cNvPr id="79" name="Picture 78" descr="Icon&#10;&#10;Description automatically generated">
            <a:extLst>
              <a:ext uri="{FF2B5EF4-FFF2-40B4-BE49-F238E27FC236}">
                <a16:creationId xmlns:a16="http://schemas.microsoft.com/office/drawing/2014/main" id="{CA53172F-5708-4E57-8E80-54CC59666667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2316" y="951251"/>
            <a:ext cx="360000" cy="360000"/>
          </a:xfrm>
          <a:prstGeom prst="rect">
            <a:avLst/>
          </a:prstGeom>
        </p:spPr>
      </p:pic>
      <p:sp>
        <p:nvSpPr>
          <p:cNvPr id="81" name="Textfeld 159">
            <a:extLst>
              <a:ext uri="{FF2B5EF4-FFF2-40B4-BE49-F238E27FC236}">
                <a16:creationId xmlns:a16="http://schemas.microsoft.com/office/drawing/2014/main" id="{60389BF7-6117-432E-8440-F047A0A3C8FA}"/>
              </a:ext>
            </a:extLst>
          </p:cNvPr>
          <p:cNvSpPr txBox="1"/>
          <p:nvPr/>
        </p:nvSpPr>
        <p:spPr bwMode="gray">
          <a:xfrm>
            <a:off x="2405872" y="1291763"/>
            <a:ext cx="1172888" cy="211203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0003"/>
              </a:buClr>
              <a:buSzTx/>
              <a:buFontTx/>
              <a:buNone/>
              <a:tabLst/>
              <a:defRPr/>
            </a:pPr>
            <a:r>
              <a:rPr kumimoji="0" lang="en-GB" sz="900" b="0" i="0" u="none" strike="noStrike" kern="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District Heating</a:t>
            </a:r>
          </a:p>
        </p:txBody>
      </p:sp>
      <p:cxnSp>
        <p:nvCxnSpPr>
          <p:cNvPr id="89" name="Gerader Verbinder 97">
            <a:extLst>
              <a:ext uri="{FF2B5EF4-FFF2-40B4-BE49-F238E27FC236}">
                <a16:creationId xmlns:a16="http://schemas.microsoft.com/office/drawing/2014/main" id="{222D6454-F0E6-42B6-8B8C-D9D0797ACA45}"/>
              </a:ext>
            </a:extLst>
          </p:cNvPr>
          <p:cNvCxnSpPr>
            <a:cxnSpLocks/>
          </p:cNvCxnSpPr>
          <p:nvPr/>
        </p:nvCxnSpPr>
        <p:spPr>
          <a:xfrm flipH="1" flipV="1">
            <a:off x="3288904" y="1629967"/>
            <a:ext cx="336312" cy="260597"/>
          </a:xfrm>
          <a:prstGeom prst="line">
            <a:avLst/>
          </a:prstGeom>
          <a:noFill/>
          <a:ln w="50800" cap="flat" cmpd="sng" algn="ctr">
            <a:solidFill>
              <a:srgbClr val="C00000"/>
            </a:solidFill>
            <a:prstDash val="solid"/>
            <a:miter lim="800000"/>
            <a:headEnd type="oval"/>
            <a:tailEnd type="triangle"/>
          </a:ln>
          <a:effectLst/>
        </p:spPr>
      </p:cxnSp>
      <p:cxnSp>
        <p:nvCxnSpPr>
          <p:cNvPr id="107" name="Gerader Verbinder 97">
            <a:extLst>
              <a:ext uri="{FF2B5EF4-FFF2-40B4-BE49-F238E27FC236}">
                <a16:creationId xmlns:a16="http://schemas.microsoft.com/office/drawing/2014/main" id="{43A992DB-873C-49BC-B060-7686320F28F6}"/>
              </a:ext>
            </a:extLst>
          </p:cNvPr>
          <p:cNvCxnSpPr>
            <a:cxnSpLocks/>
          </p:cNvCxnSpPr>
          <p:nvPr/>
        </p:nvCxnSpPr>
        <p:spPr>
          <a:xfrm flipV="1">
            <a:off x="3288904" y="1890331"/>
            <a:ext cx="339368" cy="147094"/>
          </a:xfrm>
          <a:prstGeom prst="line">
            <a:avLst/>
          </a:prstGeom>
          <a:ln w="50800">
            <a:solidFill>
              <a:srgbClr val="C00000"/>
            </a:solidFill>
            <a:headEnd type="oval"/>
            <a:tailEnd type="oval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05868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69958C29-8F38-4B20-9E88-DCD5059BAD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69958C29-8F38-4B20-9E88-DCD5059BAD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0AAE24-6D2B-5640-BD0D-E98840D44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3779" y="266692"/>
            <a:ext cx="7444196" cy="516824"/>
          </a:xfrm>
        </p:spPr>
        <p:txBody>
          <a:bodyPr vert="horz">
            <a:noAutofit/>
          </a:bodyPr>
          <a:lstStyle/>
          <a:p>
            <a:r>
              <a:rPr lang="en-GB" sz="1600" dirty="0">
                <a:solidFill>
                  <a:srgbClr val="006DFF"/>
                </a:solidFill>
                <a:latin typeface="RR Pioneer bold"/>
              </a:rPr>
              <a:t>The energy markets of the future will need clean power that can deliver 24/7 – the Rolls-Royce SMR offers a solu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E53498C-BB29-48A1-B400-D805C49189E7}"/>
              </a:ext>
            </a:extLst>
          </p:cNvPr>
          <p:cNvSpPr txBox="1"/>
          <p:nvPr/>
        </p:nvSpPr>
        <p:spPr>
          <a:xfrm>
            <a:off x="737279" y="2740126"/>
            <a:ext cx="1493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Only 13% of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global energy is low carbo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today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C46E0115-958B-4305-B0BC-BC498C9DF599}"/>
              </a:ext>
            </a:extLst>
          </p:cNvPr>
          <p:cNvGraphicFramePr>
            <a:graphicFrameLocks/>
          </p:cNvGraphicFramePr>
          <p:nvPr/>
        </p:nvGraphicFramePr>
        <p:xfrm>
          <a:off x="-101373" y="1340539"/>
          <a:ext cx="2962275" cy="3020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907EC17-956A-490E-A1B4-E28B52B31D83}"/>
              </a:ext>
            </a:extLst>
          </p:cNvPr>
          <p:cNvCxnSpPr>
            <a:cxnSpLocks/>
          </p:cNvCxnSpPr>
          <p:nvPr/>
        </p:nvCxnSpPr>
        <p:spPr>
          <a:xfrm>
            <a:off x="1476243" y="1903095"/>
            <a:ext cx="0" cy="62309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C25CB64-8691-487A-8964-FC69C4564187}"/>
              </a:ext>
            </a:extLst>
          </p:cNvPr>
          <p:cNvSpPr txBox="1"/>
          <p:nvPr/>
        </p:nvSpPr>
        <p:spPr>
          <a:xfrm>
            <a:off x="1007223" y="2228266"/>
            <a:ext cx="5084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13%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CD74E1A-5ADA-4E25-BCC7-AD95FB09AD28}"/>
              </a:ext>
            </a:extLst>
          </p:cNvPr>
          <p:cNvCxnSpPr>
            <a:cxnSpLocks/>
          </p:cNvCxnSpPr>
          <p:nvPr/>
        </p:nvCxnSpPr>
        <p:spPr>
          <a:xfrm>
            <a:off x="606543" y="2262309"/>
            <a:ext cx="440151" cy="43950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1151F45-8876-420F-91F1-9D20EEFC130D}"/>
              </a:ext>
            </a:extLst>
          </p:cNvPr>
          <p:cNvCxnSpPr>
            <a:cxnSpLocks/>
          </p:cNvCxnSpPr>
          <p:nvPr/>
        </p:nvCxnSpPr>
        <p:spPr>
          <a:xfrm flipH="1">
            <a:off x="1437540" y="1915655"/>
            <a:ext cx="478660" cy="305102"/>
          </a:xfrm>
          <a:prstGeom prst="line">
            <a:avLst/>
          </a:prstGeom>
          <a:ln w="9525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D7332B80-739B-49F6-835F-10918E4918A0}"/>
              </a:ext>
            </a:extLst>
          </p:cNvPr>
          <p:cNvSpPr/>
          <p:nvPr/>
        </p:nvSpPr>
        <p:spPr>
          <a:xfrm>
            <a:off x="308143" y="1117508"/>
            <a:ext cx="2113151" cy="246221"/>
          </a:xfrm>
          <a:prstGeom prst="rect">
            <a:avLst/>
          </a:prstGeom>
        </p:spPr>
        <p:txBody>
          <a:bodyPr wrap="square" lIns="3600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RR Pioneer"/>
                <a:ea typeface="+mn-ea"/>
                <a:cs typeface="Arial" panose="020B0604020202020204" pitchFamily="34" charset="0"/>
              </a:rPr>
              <a:t>Global energy by source</a:t>
            </a: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Arial" panose="020B0604020202020204" pitchFamily="34" charset="0"/>
              </a:rPr>
              <a:t>, 2020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DD6EEBD-64EA-4A4E-98C6-1649B9AD11E6}"/>
              </a:ext>
            </a:extLst>
          </p:cNvPr>
          <p:cNvCxnSpPr>
            <a:cxnSpLocks/>
          </p:cNvCxnSpPr>
          <p:nvPr/>
        </p:nvCxnSpPr>
        <p:spPr>
          <a:xfrm>
            <a:off x="308143" y="1394507"/>
            <a:ext cx="2421202" cy="0"/>
          </a:xfrm>
          <a:prstGeom prst="line">
            <a:avLst/>
          </a:prstGeom>
          <a:ln w="12700">
            <a:solidFill>
              <a:srgbClr val="1006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33692EF-D5DE-494D-8430-D400B0C7B926}"/>
              </a:ext>
            </a:extLst>
          </p:cNvPr>
          <p:cNvCxnSpPr>
            <a:cxnSpLocks/>
          </p:cNvCxnSpPr>
          <p:nvPr/>
        </p:nvCxnSpPr>
        <p:spPr>
          <a:xfrm flipH="1">
            <a:off x="1470666" y="1757086"/>
            <a:ext cx="117547" cy="436278"/>
          </a:xfrm>
          <a:prstGeom prst="line">
            <a:avLst/>
          </a:prstGeom>
          <a:ln w="9525"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E655B7D8-1F4E-43A8-9F6D-F699B2024F35}"/>
              </a:ext>
            </a:extLst>
          </p:cNvPr>
          <p:cNvGrpSpPr/>
          <p:nvPr/>
        </p:nvGrpSpPr>
        <p:grpSpPr>
          <a:xfrm>
            <a:off x="3451639" y="2573212"/>
            <a:ext cx="232683" cy="891465"/>
            <a:chOff x="3112818" y="2418876"/>
            <a:chExt cx="281546" cy="736748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77C8C0E-CF08-4D5A-B9A2-879B138D9015}"/>
                </a:ext>
              </a:extLst>
            </p:cNvPr>
            <p:cNvCxnSpPr>
              <a:cxnSpLocks/>
            </p:cNvCxnSpPr>
            <p:nvPr/>
          </p:nvCxnSpPr>
          <p:spPr>
            <a:xfrm>
              <a:off x="3112818" y="2418876"/>
              <a:ext cx="281546" cy="372627"/>
            </a:xfrm>
            <a:prstGeom prst="line">
              <a:avLst/>
            </a:prstGeom>
            <a:ln w="38100">
              <a:solidFill>
                <a:srgbClr val="10069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3D70E3BB-4DB2-4D87-B18C-98D4D101E19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12818" y="2777650"/>
              <a:ext cx="278935" cy="377974"/>
            </a:xfrm>
            <a:prstGeom prst="line">
              <a:avLst/>
            </a:prstGeom>
            <a:ln w="38100">
              <a:solidFill>
                <a:srgbClr val="10069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A6F7C5DA-9254-4A25-9BC8-209BAA6E2A0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01384" y="1030069"/>
            <a:ext cx="4927022" cy="3527585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E2F0C88A-960E-480C-B272-4D41D9C7CF8D}"/>
              </a:ext>
            </a:extLst>
          </p:cNvPr>
          <p:cNvSpPr txBox="1"/>
          <p:nvPr/>
        </p:nvSpPr>
        <p:spPr>
          <a:xfrm>
            <a:off x="2951836" y="1939178"/>
            <a:ext cx="1349548" cy="21698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10069F"/>
                </a:solidFill>
              </a:rPr>
              <a:t>There are many solutions to decarbonize</a:t>
            </a:r>
          </a:p>
          <a:p>
            <a:endParaRPr lang="en-US" sz="900" dirty="0">
              <a:solidFill>
                <a:srgbClr val="10069F"/>
              </a:solidFill>
            </a:endParaRPr>
          </a:p>
          <a:p>
            <a:endParaRPr lang="en-US" sz="900" dirty="0">
              <a:solidFill>
                <a:srgbClr val="10069F"/>
              </a:solidFill>
            </a:endParaRPr>
          </a:p>
          <a:p>
            <a:endParaRPr lang="en-US" sz="900" dirty="0">
              <a:solidFill>
                <a:srgbClr val="10069F"/>
              </a:solidFill>
            </a:endParaRPr>
          </a:p>
          <a:p>
            <a:endParaRPr lang="en-US" sz="900" dirty="0">
              <a:solidFill>
                <a:srgbClr val="10069F"/>
              </a:solidFill>
            </a:endParaRPr>
          </a:p>
          <a:p>
            <a:endParaRPr lang="en-US" sz="900" dirty="0">
              <a:solidFill>
                <a:srgbClr val="10069F"/>
              </a:solidFill>
            </a:endParaRPr>
          </a:p>
          <a:p>
            <a:endParaRPr lang="en-US" sz="900" dirty="0">
              <a:solidFill>
                <a:srgbClr val="10069F"/>
              </a:solidFill>
            </a:endParaRPr>
          </a:p>
          <a:p>
            <a:endParaRPr lang="en-US" sz="900" dirty="0">
              <a:solidFill>
                <a:srgbClr val="10069F"/>
              </a:solidFill>
            </a:endParaRPr>
          </a:p>
          <a:p>
            <a:br>
              <a:rPr lang="en-US" sz="900" dirty="0">
                <a:solidFill>
                  <a:srgbClr val="10069F"/>
                </a:solidFill>
              </a:rPr>
            </a:br>
            <a:br>
              <a:rPr lang="en-US" sz="900" dirty="0">
                <a:solidFill>
                  <a:srgbClr val="10069F"/>
                </a:solidFill>
              </a:rPr>
            </a:br>
            <a:r>
              <a:rPr lang="en-US" sz="900" dirty="0">
                <a:solidFill>
                  <a:srgbClr val="10069F"/>
                </a:solidFill>
              </a:rPr>
              <a:t>But most need clean electricity at a vast scale</a:t>
            </a: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27300353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2A3BCB27-75C6-4B7E-B824-3FEF7BDFFE39}"/>
              </a:ext>
            </a:extLst>
          </p:cNvPr>
          <p:cNvGrpSpPr/>
          <p:nvPr/>
        </p:nvGrpSpPr>
        <p:grpSpPr>
          <a:xfrm>
            <a:off x="2700000" y="900000"/>
            <a:ext cx="5904000" cy="216000"/>
            <a:chOff x="2700000" y="612000"/>
            <a:chExt cx="5904000" cy="216000"/>
          </a:xfrm>
        </p:grpSpPr>
        <p:sp>
          <p:nvSpPr>
            <p:cNvPr id="31" name="Footnote">
              <a:extLst>
                <a:ext uri="{FF2B5EF4-FFF2-40B4-BE49-F238E27FC236}">
                  <a16:creationId xmlns:a16="http://schemas.microsoft.com/office/drawing/2014/main" id="{5489F6AD-AA4D-4659-A1FD-BD3AF25FA50F}"/>
                </a:ext>
              </a:extLst>
            </p:cNvPr>
            <p:cNvSpPr txBox="1">
              <a:spLocks/>
            </p:cNvSpPr>
            <p:nvPr/>
          </p:nvSpPr>
          <p:spPr>
            <a:xfrm>
              <a:off x="2700000" y="612000"/>
              <a:ext cx="1800000" cy="216000"/>
            </a:xfrm>
            <a:prstGeom prst="rect">
              <a:avLst/>
            </a:prstGeom>
            <a:solidFill>
              <a:srgbClr val="819C00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685800" rtl="0" eaLnBrk="0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zh-CN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SimHei" panose="02010609060101010101" pitchFamily="49" charset="-122"/>
                  <a:cs typeface="Arial"/>
                </a:rPr>
                <a:t>Civil Aerospace</a:t>
              </a:r>
              <a:endParaRPr kumimoji="0" lang="en-GB" altLang="zh-CN" sz="9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SimHei" panose="02010609060101010101" pitchFamily="49" charset="-122"/>
                <a:cs typeface="Arial"/>
              </a:endParaRPr>
            </a:p>
          </p:txBody>
        </p:sp>
        <p:sp>
          <p:nvSpPr>
            <p:cNvPr id="32" name="Footnote">
              <a:extLst>
                <a:ext uri="{FF2B5EF4-FFF2-40B4-BE49-F238E27FC236}">
                  <a16:creationId xmlns:a16="http://schemas.microsoft.com/office/drawing/2014/main" id="{C4677F95-2D54-4C41-BE8B-D627C5B33514}"/>
                </a:ext>
              </a:extLst>
            </p:cNvPr>
            <p:cNvSpPr txBox="1">
              <a:spLocks/>
            </p:cNvSpPr>
            <p:nvPr/>
          </p:nvSpPr>
          <p:spPr>
            <a:xfrm>
              <a:off x="4752000" y="612000"/>
              <a:ext cx="1800000" cy="216000"/>
            </a:xfrm>
            <a:prstGeom prst="rect">
              <a:avLst/>
            </a:prstGeom>
            <a:solidFill>
              <a:srgbClr val="819C00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685800" rtl="0" eaLnBrk="0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zh-CN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SimHei" panose="02010609060101010101" pitchFamily="49" charset="-122"/>
                  <a:cs typeface="Arial"/>
                </a:rPr>
                <a:t>Power Systems</a:t>
              </a:r>
              <a:endParaRPr kumimoji="0" lang="en-GB" altLang="zh-CN" sz="9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SimHei" panose="02010609060101010101" pitchFamily="49" charset="-122"/>
                <a:cs typeface="Arial"/>
              </a:endParaRPr>
            </a:p>
          </p:txBody>
        </p:sp>
        <p:sp>
          <p:nvSpPr>
            <p:cNvPr id="33" name="Footnote">
              <a:extLst>
                <a:ext uri="{FF2B5EF4-FFF2-40B4-BE49-F238E27FC236}">
                  <a16:creationId xmlns:a16="http://schemas.microsoft.com/office/drawing/2014/main" id="{2CAA48AA-8891-4CAB-B06D-6410A9BAEF92}"/>
                </a:ext>
              </a:extLst>
            </p:cNvPr>
            <p:cNvSpPr txBox="1">
              <a:spLocks/>
            </p:cNvSpPr>
            <p:nvPr/>
          </p:nvSpPr>
          <p:spPr>
            <a:xfrm>
              <a:off x="6804000" y="612000"/>
              <a:ext cx="1800000" cy="216000"/>
            </a:xfrm>
            <a:prstGeom prst="rect">
              <a:avLst/>
            </a:prstGeom>
            <a:solidFill>
              <a:srgbClr val="819C00"/>
            </a:solidFill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marL="0" marR="0" lvl="0" indent="0" algn="ctr" defTabSz="685800" rtl="0" eaLnBrk="0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zh-CN" sz="9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SimHei" panose="02010609060101010101" pitchFamily="49" charset="-122"/>
                  <a:cs typeface="Arial"/>
                </a:rPr>
                <a:t>Defence</a:t>
              </a:r>
              <a:endParaRPr kumimoji="0" lang="en-GB" altLang="zh-CN" sz="9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SimHei" panose="02010609060101010101" pitchFamily="49" charset="-122"/>
                <a:cs typeface="Arial"/>
              </a:endParaRP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8D3540E6-589E-4F90-9CE2-0C80370AA984}"/>
              </a:ext>
            </a:extLst>
          </p:cNvPr>
          <p:cNvSpPr>
            <a:spLocks/>
          </p:cNvSpPr>
          <p:nvPr/>
        </p:nvSpPr>
        <p:spPr bwMode="auto">
          <a:xfrm>
            <a:off x="2700000" y="2304000"/>
            <a:ext cx="5868827" cy="180024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2" indent="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rgbClr val="10069F"/>
              </a:buClr>
              <a:buSzTx/>
              <a:buFontTx/>
              <a:buNone/>
              <a:tabLst/>
              <a:defRPr/>
            </a:pPr>
            <a:r>
              <a:rPr kumimoji="0" lang="en-GB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Strong nuclear heritage</a:t>
            </a:r>
            <a:r>
              <a:rPr kumimoji="0" lang="en-GB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 with roots in defence and civil development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D25AC57-7D23-4941-8668-1EAF8E13D4EE}"/>
              </a:ext>
            </a:extLst>
          </p:cNvPr>
          <p:cNvSpPr>
            <a:spLocks/>
          </p:cNvSpPr>
          <p:nvPr/>
        </p:nvSpPr>
        <p:spPr bwMode="auto">
          <a:xfrm>
            <a:off x="2699998" y="267205"/>
            <a:ext cx="6005089" cy="398899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2" indent="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rgbClr val="10069F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Rolls-Royce is one of the world’s </a:t>
            </a: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leading </a:t>
            </a: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industrial technology companies pioneering cutting-edge technologies that deliver </a:t>
            </a:r>
            <a:r>
              <a:rPr kumimoji="0" lang="en-GB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clean, safe and competitive </a:t>
            </a:r>
            <a:r>
              <a:rPr kumimoji="0" lang="en-GB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solutions</a:t>
            </a:r>
          </a:p>
          <a:p>
            <a:pPr marL="171450" marR="0" lvl="2" indent="-17145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rgbClr val="10069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171450" marR="0" lvl="2" indent="-171450" algn="l" defTabSz="914400" rtl="0" eaLnBrk="1" fontAlgn="base" latinLnBrk="0" hangingPunct="1">
              <a:lnSpc>
                <a:spcPct val="90000"/>
              </a:lnSpc>
              <a:spcBef>
                <a:spcPts val="500"/>
              </a:spcBef>
              <a:spcAft>
                <a:spcPts val="500"/>
              </a:spcAft>
              <a:buClr>
                <a:srgbClr val="10069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10A9FC3-FCF8-4144-BA22-A6CCB98A9116}"/>
              </a:ext>
            </a:extLst>
          </p:cNvPr>
          <p:cNvSpPr/>
          <p:nvPr/>
        </p:nvSpPr>
        <p:spPr>
          <a:xfrm>
            <a:off x="2699999" y="2587509"/>
            <a:ext cx="5904000" cy="216000"/>
          </a:xfrm>
          <a:prstGeom prst="rect">
            <a:avLst/>
          </a:prstGeom>
          <a:solidFill>
            <a:srgbClr val="002060"/>
          </a:solidFill>
          <a:ln>
            <a:noFill/>
          </a:ln>
          <a:effectLst/>
        </p:spPr>
        <p:txBody>
          <a:bodyPr wrap="square" lIns="72000" tIns="18000" rIns="72000" bIns="18000" anchor="ctr">
            <a:noAutofit/>
          </a:bodyPr>
          <a:lstStyle/>
          <a:p>
            <a:pPr marL="0" marR="0" lvl="0" indent="0" algn="ctr" defTabSz="914400" rtl="0" eaLnBrk="0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 bold"/>
                <a:ea typeface="SimHei" panose="02010609060101010101" pitchFamily="49" charset="-122"/>
                <a:cs typeface="Arial"/>
              </a:rPr>
              <a:t>Nuclear Business Experience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CB00A1F-4095-42E5-8C64-AB87EE2019D1}"/>
              </a:ext>
            </a:extLst>
          </p:cNvPr>
          <p:cNvGrpSpPr/>
          <p:nvPr/>
        </p:nvGrpSpPr>
        <p:grpSpPr>
          <a:xfrm>
            <a:off x="2700000" y="3175688"/>
            <a:ext cx="1800000" cy="1247821"/>
            <a:chOff x="6804000" y="2496179"/>
            <a:chExt cx="1800000" cy="1247821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53E59036-B2BD-4E18-BC27-336E07F7FE8E}"/>
                </a:ext>
              </a:extLst>
            </p:cNvPr>
            <p:cNvSpPr/>
            <p:nvPr/>
          </p:nvSpPr>
          <p:spPr>
            <a:xfrm>
              <a:off x="6804000" y="2496179"/>
              <a:ext cx="1800000" cy="216000"/>
            </a:xfrm>
            <a:prstGeom prst="rect">
              <a:avLst/>
            </a:prstGeom>
            <a:solidFill>
              <a:srgbClr val="00BFBD"/>
            </a:solidFill>
            <a:ln>
              <a:noFill/>
            </a:ln>
            <a:effectLst/>
          </p:spPr>
          <p:txBody>
            <a:bodyPr wrap="square" lIns="72000" tIns="18000" rIns="72000" bIns="18000" anchor="t">
              <a:noAutofit/>
            </a:bodyPr>
            <a:lstStyle/>
            <a:p>
              <a:pPr marL="0" marR="0" lvl="0" indent="0" algn="ctr" defTabSz="914400" rtl="0" eaLnBrk="0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 bold"/>
                  <a:ea typeface="SimHei" panose="02010609060101010101" pitchFamily="49" charset="-122"/>
                  <a:cs typeface="Arial"/>
                </a:rPr>
                <a:t>Rolls-Royce SMR</a:t>
              </a:r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89B5244D-318C-4419-9A0B-71887FAF0C49}"/>
                </a:ext>
              </a:extLst>
            </p:cNvPr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04000" y="2772000"/>
              <a:ext cx="1800000" cy="97200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50" name="Picture 2" descr="Tempest jet - images courtesy of Rolls-Royce">
            <a:extLst>
              <a:ext uri="{FF2B5EF4-FFF2-40B4-BE49-F238E27FC236}">
                <a16:creationId xmlns:a16="http://schemas.microsoft.com/office/drawing/2014/main" id="{BAA09F1A-B6CB-4015-A6FD-6FBA78FC2544}"/>
              </a:ext>
            </a:extLst>
          </p:cNvPr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03999" y="1188000"/>
            <a:ext cx="1800000" cy="972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" descr="Six Facts About The Trent XWB Engine | Aviation Week Network">
            <a:extLst>
              <a:ext uri="{FF2B5EF4-FFF2-40B4-BE49-F238E27FC236}">
                <a16:creationId xmlns:a16="http://schemas.microsoft.com/office/drawing/2014/main" id="{3C13E0AD-97A6-4DCC-AEFB-75FE99D871C2}"/>
              </a:ext>
            </a:extLst>
          </p:cNvPr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00000" y="1188000"/>
            <a:ext cx="1800000" cy="972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" descr="Power Systems – Rolls-Royce">
            <a:extLst>
              <a:ext uri="{FF2B5EF4-FFF2-40B4-BE49-F238E27FC236}">
                <a16:creationId xmlns:a16="http://schemas.microsoft.com/office/drawing/2014/main" id="{C9B76C71-DAA3-4B53-8D1D-AD0878CA9568}"/>
              </a:ext>
            </a:extLst>
          </p:cNvPr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52000" y="1188000"/>
            <a:ext cx="1800000" cy="972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2CD5707C-959D-445F-BF90-50363949D6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5033" y="956917"/>
            <a:ext cx="1786647" cy="955675"/>
          </a:xfrm>
        </p:spPr>
        <p:txBody>
          <a:bodyPr/>
          <a:lstStyle/>
          <a:p>
            <a:r>
              <a:rPr lang="en-GB"/>
              <a:t>Rolls-Royce’s</a:t>
            </a:r>
          </a:p>
          <a:p>
            <a:r>
              <a:rPr lang="en-GB"/>
              <a:t>Nuclear Heritage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81D22255-1FE8-44BB-8713-3176868D3459}"/>
              </a:ext>
            </a:extLst>
          </p:cNvPr>
          <p:cNvSpPr txBox="1">
            <a:spLocks/>
          </p:cNvSpPr>
          <p:nvPr/>
        </p:nvSpPr>
        <p:spPr>
          <a:xfrm>
            <a:off x="246176" y="1797008"/>
            <a:ext cx="1785600" cy="21168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004777"/>
              </a:buClr>
              <a:buFont typeface="Wingdings" pitchFamily="2" charset="2"/>
              <a:buNone/>
              <a:defRPr sz="10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4777"/>
              </a:buClr>
              <a:buFont typeface="Wingdings" pitchFamily="2" charset="2"/>
              <a:buChar char="§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4777"/>
              </a:buClr>
              <a:buFont typeface="Wingdings" pitchFamily="2" charset="2"/>
              <a:buChar char="§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4777"/>
              </a:buClr>
              <a:buFont typeface="Wingdings" pitchFamily="2" charset="2"/>
              <a:buChar char="§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4777"/>
              </a:buClr>
              <a:buFont typeface="Wingdings" pitchFamily="2" charset="2"/>
              <a:buChar char="§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Strong nuclear heritage with roots in defence and civil develop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50" b="0" i="0" u="none" strike="noStrike" kern="0" cap="none" spc="0" normalizeH="0" baseline="0" noProof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Designing, manufacturing and supporting small reactors for over 60 yea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50" b="0" i="0" u="none" strike="noStrike" kern="0" cap="none" spc="0" normalizeH="0" baseline="0" noProof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Rolls-Royce is a globally recognised and trusted partner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04777"/>
              </a:buClr>
              <a:buSzTx/>
              <a:buFont typeface="Wingdings" pitchFamily="2" charset="2"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CA344BB-A0BF-4C6D-BB55-C207AF87620E}"/>
              </a:ext>
            </a:extLst>
          </p:cNvPr>
          <p:cNvSpPr/>
          <p:nvPr/>
        </p:nvSpPr>
        <p:spPr>
          <a:xfrm>
            <a:off x="4752000" y="3168000"/>
            <a:ext cx="1800000" cy="216000"/>
          </a:xfrm>
          <a:prstGeom prst="rect">
            <a:avLst/>
          </a:prstGeom>
          <a:solidFill>
            <a:srgbClr val="00BFBD"/>
          </a:solidFill>
          <a:ln>
            <a:noFill/>
          </a:ln>
          <a:effectLst/>
        </p:spPr>
        <p:txBody>
          <a:bodyPr wrap="square" lIns="72000" tIns="18000" rIns="72000" bIns="18000" anchor="t">
            <a:noAutofit/>
          </a:bodyPr>
          <a:lstStyle/>
          <a:p>
            <a:pPr algn="ctr" defTabSz="914400" eaLnBrk="0" fontAlgn="base"/>
            <a:r>
              <a:rPr lang="en-US" sz="900">
                <a:solidFill>
                  <a:srgbClr val="FFFFFF"/>
                </a:solidFill>
                <a:latin typeface="RR Pioneer bold"/>
                <a:ea typeface="SimHei" panose="02010609060101010101" pitchFamily="49" charset="-122"/>
                <a:cs typeface="Arial"/>
              </a:rPr>
              <a:t> Innovation &amp; Future Program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E894D17-C4E8-4550-9225-826B2CA069CB}"/>
              </a:ext>
            </a:extLst>
          </p:cNvPr>
          <p:cNvSpPr/>
          <p:nvPr/>
        </p:nvSpPr>
        <p:spPr>
          <a:xfrm>
            <a:off x="6803999" y="3168000"/>
            <a:ext cx="1800000" cy="216000"/>
          </a:xfrm>
          <a:prstGeom prst="rect">
            <a:avLst/>
          </a:prstGeom>
          <a:solidFill>
            <a:srgbClr val="00BFBD"/>
          </a:solidFill>
          <a:ln>
            <a:noFill/>
          </a:ln>
          <a:effectLst/>
        </p:spPr>
        <p:txBody>
          <a:bodyPr wrap="square" lIns="72000" tIns="18000" rIns="72000" bIns="18000" anchor="t">
            <a:noAutofit/>
          </a:bodyPr>
          <a:lstStyle/>
          <a:p>
            <a:pPr algn="ctr" defTabSz="914400" eaLnBrk="0" fontAlgn="base"/>
            <a:r>
              <a:rPr lang="en-US" sz="900">
                <a:solidFill>
                  <a:srgbClr val="FFFFFF"/>
                </a:solidFill>
                <a:latin typeface="RR Pioneer bold"/>
                <a:ea typeface="SimHei" panose="02010609060101010101" pitchFamily="49" charset="-122"/>
                <a:cs typeface="Arial"/>
              </a:rPr>
              <a:t>Submarines</a:t>
            </a:r>
          </a:p>
        </p:txBody>
      </p:sp>
      <p:pic>
        <p:nvPicPr>
          <p:cNvPr id="28" name="Picture 31" descr="Ambush">
            <a:extLst>
              <a:ext uri="{FF2B5EF4-FFF2-40B4-BE49-F238E27FC236}">
                <a16:creationId xmlns:a16="http://schemas.microsoft.com/office/drawing/2014/main" id="{DF941E7F-5277-4FF9-A457-8684790C9821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03999" y="3456000"/>
            <a:ext cx="1800000" cy="972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8" descr="A picture containing engine&#10;&#10;Description automatically generated">
            <a:extLst>
              <a:ext uri="{FF2B5EF4-FFF2-40B4-BE49-F238E27FC236}">
                <a16:creationId xmlns:a16="http://schemas.microsoft.com/office/drawing/2014/main" id="{8EB8CF0D-C187-45DF-9312-4D7AD48CC98C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2000" y="3456000"/>
            <a:ext cx="1800000" cy="972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4250504B-7549-436E-B36A-7DFC641C1428}"/>
              </a:ext>
            </a:extLst>
          </p:cNvPr>
          <p:cNvSpPr/>
          <p:nvPr/>
        </p:nvSpPr>
        <p:spPr>
          <a:xfrm>
            <a:off x="5726160" y="2880000"/>
            <a:ext cx="2877840" cy="216000"/>
          </a:xfrm>
          <a:prstGeom prst="rect">
            <a:avLst/>
          </a:prstGeom>
          <a:solidFill>
            <a:srgbClr val="006DFF"/>
          </a:solidFill>
          <a:ln>
            <a:noFill/>
          </a:ln>
          <a:effectLst/>
        </p:spPr>
        <p:txBody>
          <a:bodyPr wrap="square" lIns="72000" tIns="18000" rIns="72000" bIns="18000" anchor="ctr">
            <a:noAutofit/>
          </a:bodyPr>
          <a:lstStyle/>
          <a:p>
            <a:pPr algn="ctr" defTabSz="914400" eaLnBrk="0" fontAlgn="base"/>
            <a:r>
              <a:rPr lang="en-US" sz="900">
                <a:solidFill>
                  <a:srgbClr val="FFFFFF"/>
                </a:solidFill>
                <a:latin typeface="RR Pioneer bold"/>
                <a:ea typeface="SimHei" panose="02010609060101010101" pitchFamily="49" charset="-122"/>
                <a:cs typeface="Arial"/>
              </a:rPr>
              <a:t>Defence Nuclea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7F4D7BF-4D1E-412B-B246-7B31534F8E19}"/>
              </a:ext>
            </a:extLst>
          </p:cNvPr>
          <p:cNvSpPr/>
          <p:nvPr/>
        </p:nvSpPr>
        <p:spPr>
          <a:xfrm>
            <a:off x="2700000" y="2880000"/>
            <a:ext cx="2877840" cy="216000"/>
          </a:xfrm>
          <a:prstGeom prst="rect">
            <a:avLst/>
          </a:prstGeom>
          <a:solidFill>
            <a:srgbClr val="006DFF"/>
          </a:solidFill>
          <a:ln>
            <a:noFill/>
          </a:ln>
          <a:effectLst/>
        </p:spPr>
        <p:txBody>
          <a:bodyPr wrap="square" lIns="72000" tIns="18000" rIns="72000" bIns="18000" anchor="ctr">
            <a:noAutofit/>
          </a:bodyPr>
          <a:lstStyle/>
          <a:p>
            <a:pPr algn="ctr" defTabSz="914400" eaLnBrk="0" fontAlgn="base"/>
            <a:r>
              <a:rPr lang="en-US" sz="900">
                <a:solidFill>
                  <a:srgbClr val="FFFFFF"/>
                </a:solidFill>
                <a:latin typeface="RR Pioneer bold"/>
                <a:ea typeface="SimHei" panose="02010609060101010101" pitchFamily="49" charset="-122"/>
                <a:cs typeface="Arial"/>
              </a:rPr>
              <a:t>Civil Nuclear</a:t>
            </a:r>
          </a:p>
        </p:txBody>
      </p:sp>
    </p:spTree>
    <p:extLst>
      <p:ext uri="{BB962C8B-B14F-4D97-AF65-F5344CB8AC3E}">
        <p14:creationId xmlns:p14="http://schemas.microsoft.com/office/powerpoint/2010/main" val="5575812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6784B16-B545-E101-35E6-056B6FA709F8}"/>
              </a:ext>
            </a:extLst>
          </p:cNvPr>
          <p:cNvSpPr txBox="1"/>
          <p:nvPr/>
        </p:nvSpPr>
        <p:spPr>
          <a:xfrm>
            <a:off x="5568177" y="3642732"/>
            <a:ext cx="3382536" cy="884663"/>
          </a:xfrm>
          <a:prstGeom prst="rect">
            <a:avLst/>
          </a:prstGeom>
          <a:noFill/>
          <a:ln>
            <a:noFill/>
          </a:ln>
        </p:spPr>
        <p:txBody>
          <a:bodyPr wrap="square" lIns="36000" rIns="36000" rtlCol="0" anchor="ctr">
            <a:noAutofit/>
          </a:bodyPr>
          <a:lstStyle/>
          <a:p>
            <a:pPr algn="r"/>
            <a:r>
              <a:rPr lang="en-GB" sz="1200" b="1" dirty="0"/>
              <a:t>Ed Coxon</a:t>
            </a:r>
          </a:p>
          <a:p>
            <a:pPr algn="r"/>
            <a:r>
              <a:rPr lang="en-GB" sz="1200" b="1" dirty="0"/>
              <a:t>Senior Customer Engagement Manager</a:t>
            </a:r>
          </a:p>
          <a:p>
            <a:pPr algn="r"/>
            <a:r>
              <a:rPr lang="en-GB" sz="1200" b="1" dirty="0"/>
              <a:t>ed.coxon@rolls-royce-smr.com</a:t>
            </a:r>
          </a:p>
        </p:txBody>
      </p:sp>
    </p:spTree>
    <p:extLst>
      <p:ext uri="{BB962C8B-B14F-4D97-AF65-F5344CB8AC3E}">
        <p14:creationId xmlns:p14="http://schemas.microsoft.com/office/powerpoint/2010/main" val="2435841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BA89BC9-AA16-441B-A4F6-9BB9734C9A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BA89BC9-AA16-441B-A4F6-9BB9734C9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22E2EB83-8946-47B9-A0D0-333616D9D459}"/>
              </a:ext>
            </a:extLst>
          </p:cNvPr>
          <p:cNvPicPr>
            <a:picLocks/>
          </p:cNvPicPr>
          <p:nvPr/>
        </p:nvPicPr>
        <p:blipFill rotWithShape="1">
          <a:blip r:embed="rId6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52000"/>
            <a:ext cx="9144000" cy="399600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DD4619D0-972D-45BB-9DE8-2FADFE74A531}"/>
              </a:ext>
            </a:extLst>
          </p:cNvPr>
          <p:cNvSpPr/>
          <p:nvPr/>
        </p:nvSpPr>
        <p:spPr>
          <a:xfrm>
            <a:off x="0" y="1145464"/>
            <a:ext cx="9144000" cy="3996000"/>
          </a:xfrm>
          <a:prstGeom prst="rect">
            <a:avLst/>
          </a:prstGeom>
          <a:solidFill>
            <a:srgbClr val="10069F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726DA56-39A3-4E22-BE79-DEB189E2E752}"/>
              </a:ext>
            </a:extLst>
          </p:cNvPr>
          <p:cNvSpPr txBox="1"/>
          <p:nvPr/>
        </p:nvSpPr>
        <p:spPr>
          <a:xfrm>
            <a:off x="3909455" y="1716876"/>
            <a:ext cx="426782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Constellation Energy (previously Exelon Generation Ltd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Operates the largest U.S. fleet of zero-carbon nuclear plants with over  18.7GW from 21 reactors at 12 facilities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658CE0B-2FF0-4072-8A79-AAE0EBB6BDA0}"/>
              </a:ext>
            </a:extLst>
          </p:cNvPr>
          <p:cNvGrpSpPr/>
          <p:nvPr/>
        </p:nvGrpSpPr>
        <p:grpSpPr>
          <a:xfrm>
            <a:off x="458011" y="2161740"/>
            <a:ext cx="787286" cy="1171440"/>
            <a:chOff x="-3513606" y="270529"/>
            <a:chExt cx="1671638" cy="2717801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24F8089A-F2FD-4207-86C6-EB3C5C5C650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6C7A6EEB-6995-4F2D-AEB0-C52A007BAD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A20E3A8D-FFE5-4876-94BF-B45739D2D8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endParaRP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1ED46BC8-289A-4881-B5EB-2A2C57FAD55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9073" y="2430660"/>
            <a:ext cx="432000" cy="432000"/>
          </a:xfrm>
          <a:prstGeom prst="round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4A78D6E-1267-4656-BBFD-B8B5A3871E6B}"/>
              </a:ext>
            </a:extLst>
          </p:cNvPr>
          <p:cNvSpPr/>
          <p:nvPr/>
        </p:nvSpPr>
        <p:spPr>
          <a:xfrm>
            <a:off x="1263723" y="2220569"/>
            <a:ext cx="1930279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Rolls-Royce Group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60 years designing, manufacturing, supporting and operating nuclear technolog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AB8E698-23AB-4610-9ECE-AEEC1C33A8AB}"/>
              </a:ext>
            </a:extLst>
          </p:cNvPr>
          <p:cNvSpPr txBox="1"/>
          <p:nvPr/>
        </p:nvSpPr>
        <p:spPr>
          <a:xfrm>
            <a:off x="3911370" y="2330109"/>
            <a:ext cx="484646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BNF Resources UK Ltd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Extensive investments in the energy space and represented and advised by BNF Capital Limited, an FCA regulated UK-based investment advisory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97F2E1-4389-41B3-8CAD-7A60F5695ADF}"/>
              </a:ext>
            </a:extLst>
          </p:cNvPr>
          <p:cNvSpPr txBox="1"/>
          <p:nvPr/>
        </p:nvSpPr>
        <p:spPr>
          <a:xfrm>
            <a:off x="229484" y="1555440"/>
            <a:ext cx="3662469" cy="300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Rolls-Royce SMR Ltd Shareholde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5D620C8-B54A-4AAC-BDA8-C047D711A774}"/>
              </a:ext>
            </a:extLst>
          </p:cNvPr>
          <p:cNvSpPr txBox="1"/>
          <p:nvPr/>
        </p:nvSpPr>
        <p:spPr>
          <a:xfrm>
            <a:off x="3911370" y="2972602"/>
            <a:ext cx="484646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Qatar Investment Authority  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Invests in the energy transition and funds technologies that enable low carbon electricity generation</a:t>
            </a:r>
          </a:p>
        </p:txBody>
      </p:sp>
      <p:pic>
        <p:nvPicPr>
          <p:cNvPr id="11268" name="Picture 4" descr="Qatar Investment Authority Advisory (USA), Inc. | LinkedIn">
            <a:extLst>
              <a:ext uri="{FF2B5EF4-FFF2-40B4-BE49-F238E27FC236}">
                <a16:creationId xmlns:a16="http://schemas.microsoft.com/office/drawing/2014/main" id="{E49C3700-8E8D-4726-80DA-2FC14A6DB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41885" y="3051084"/>
            <a:ext cx="432000" cy="432000"/>
          </a:xfrm>
          <a:prstGeom prst="round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AE83CAB2-1F4A-4BFC-8B18-7BDAAFB2FC35}"/>
              </a:ext>
            </a:extLst>
          </p:cNvPr>
          <p:cNvSpPr txBox="1"/>
          <p:nvPr/>
        </p:nvSpPr>
        <p:spPr>
          <a:xfrm>
            <a:off x="3244552" y="4102668"/>
            <a:ext cx="430503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UK department of Business Energy and Industrial Strategy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Rolls-Royce SMR Ltd received the Low-cost nuclear (LCN) grant award by UK Research and Investment (UKRI)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5A3DA70-07C1-4AB1-9757-6D4C3A4B8DB4}"/>
              </a:ext>
            </a:extLst>
          </p:cNvPr>
          <p:cNvSpPr txBox="1"/>
          <p:nvPr/>
        </p:nvSpPr>
        <p:spPr>
          <a:xfrm>
            <a:off x="220621" y="3694842"/>
            <a:ext cx="3662469" cy="300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UK Government Grant Funding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7F588FAC-00F5-454A-B4B8-EB07BCECF572}"/>
              </a:ext>
            </a:extLst>
          </p:cNvPr>
          <p:cNvSpPr txBox="1">
            <a:spLocks/>
          </p:cNvSpPr>
          <p:nvPr/>
        </p:nvSpPr>
        <p:spPr>
          <a:xfrm>
            <a:off x="-9213" y="740750"/>
            <a:ext cx="9153213" cy="51682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3F88C5"/>
              </a:solidFill>
              <a:effectLst/>
              <a:uLnTx/>
              <a:uFillTx/>
              <a:latin typeface="RR Pioneer Bold"/>
              <a:ea typeface="+mj-ea"/>
              <a:cs typeface="+mj-cs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BDD273EF-DD73-476D-8BB9-0245C7CB08A4}"/>
              </a:ext>
            </a:extLst>
          </p:cNvPr>
          <p:cNvSpPr txBox="1">
            <a:spLocks/>
          </p:cNvSpPr>
          <p:nvPr/>
        </p:nvSpPr>
        <p:spPr>
          <a:xfrm>
            <a:off x="1194039" y="540877"/>
            <a:ext cx="7545600" cy="51682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 bold"/>
                <a:ea typeface="+mj-ea"/>
                <a:cs typeface="+mj-cs"/>
              </a:rPr>
              <a:t>Rolls-Royce SMR Ltd is a technology vendor offering a complete SMR power plant on a turnkey basis. 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 bold"/>
                <a:ea typeface="+mj-ea"/>
                <a:cs typeface="+mj-cs"/>
              </a:rPr>
            </a:b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 bold"/>
                <a:ea typeface="+mj-ea"/>
                <a:cs typeface="+mj-cs"/>
              </a:rPr>
              <a:t> </a:t>
            </a:r>
            <a:b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 bold"/>
                <a:ea typeface="+mj-ea"/>
                <a:cs typeface="+mj-cs"/>
              </a:rPr>
            </a:b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6DFF"/>
              </a:solidFill>
              <a:effectLst/>
              <a:uLnTx/>
              <a:uFillTx/>
              <a:latin typeface="RR Pioneer bold"/>
              <a:ea typeface="+mj-ea"/>
              <a:cs typeface="+mj-cs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D59A842F-0F6D-4F35-A9A1-5617DEDB869F}"/>
              </a:ext>
            </a:extLst>
          </p:cNvPr>
          <p:cNvSpPr txBox="1">
            <a:spLocks/>
          </p:cNvSpPr>
          <p:nvPr/>
        </p:nvSpPr>
        <p:spPr>
          <a:xfrm>
            <a:off x="9213" y="749100"/>
            <a:ext cx="9153213" cy="51682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 bold"/>
                <a:ea typeface="+mj-ea"/>
                <a:cs typeface="+mj-cs"/>
              </a:rPr>
              <a:t>Our development programme is fully funded with €</a:t>
            </a:r>
            <a:r>
              <a:rPr lang="en-GB" sz="1200" b="1" dirty="0">
                <a:solidFill>
                  <a:srgbClr val="10069F"/>
                </a:solidFill>
                <a:latin typeface="RR Pioneer bold"/>
              </a:rPr>
              <a:t>565m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 bold"/>
                <a:ea typeface="+mj-ea"/>
                <a:cs typeface="+mj-cs"/>
              </a:rPr>
              <a:t>through commercial equity and UK Government grant funding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RR Pioneer bold"/>
              <a:ea typeface="+mj-ea"/>
              <a:cs typeface="+mj-cs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B75471D6-1DCF-4FB9-8CCA-AB505D5B4D35}"/>
              </a:ext>
            </a:extLst>
          </p:cNvPr>
          <p:cNvSpPr/>
          <p:nvPr/>
        </p:nvSpPr>
        <p:spPr>
          <a:xfrm>
            <a:off x="3441885" y="1814091"/>
            <a:ext cx="417600" cy="432000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349" name="Picture 37" descr="Image">
            <a:extLst>
              <a:ext uri="{FF2B5EF4-FFF2-40B4-BE49-F238E27FC236}">
                <a16:creationId xmlns:a16="http://schemas.microsoft.com/office/drawing/2014/main" id="{0315A4BC-F71C-4FB9-87A7-70C327ADBC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70503" y="1845977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89A65CA-2074-408F-AACD-7E5CBA081479}"/>
              </a:ext>
            </a:extLst>
          </p:cNvPr>
          <p:cNvSpPr/>
          <p:nvPr/>
        </p:nvSpPr>
        <p:spPr>
          <a:xfrm>
            <a:off x="1728000" y="4068000"/>
            <a:ext cx="1188000" cy="648000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2DADA7F-8076-43C1-B3BB-87226F7E051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00000" y="4212000"/>
            <a:ext cx="1109663" cy="395939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C9D75E06-C2F5-4800-9FF5-A56DF8B6E318}"/>
              </a:ext>
            </a:extLst>
          </p:cNvPr>
          <p:cNvSpPr/>
          <p:nvPr/>
        </p:nvSpPr>
        <p:spPr>
          <a:xfrm>
            <a:off x="288000" y="4068000"/>
            <a:ext cx="1080000" cy="648000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68F4A36-F143-4E05-94B7-DA2A7F647E0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060" y="4140000"/>
            <a:ext cx="957915" cy="512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9234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ED788A4-705A-42D0-8F06-9E64734337F7}"/>
              </a:ext>
            </a:extLst>
          </p:cNvPr>
          <p:cNvSpPr/>
          <p:nvPr/>
        </p:nvSpPr>
        <p:spPr>
          <a:xfrm>
            <a:off x="0" y="1092200"/>
            <a:ext cx="9144000" cy="4051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22" name="Title 5">
            <a:extLst>
              <a:ext uri="{FF2B5EF4-FFF2-40B4-BE49-F238E27FC236}">
                <a16:creationId xmlns:a16="http://schemas.microsoft.com/office/drawing/2014/main" id="{CA358688-38D7-4C44-9629-ED305A8EA5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4794" y="114147"/>
            <a:ext cx="6553268" cy="967185"/>
          </a:xfrm>
        </p:spPr>
        <p:txBody>
          <a:bodyPr anchor="ctr">
            <a:normAutofit/>
          </a:bodyPr>
          <a:lstStyle/>
          <a:p>
            <a:pPr algn="ctr"/>
            <a:r>
              <a:rPr lang="en-GB" sz="1800" dirty="0">
                <a:solidFill>
                  <a:srgbClr val="10069F"/>
                </a:solidFill>
              </a:rPr>
              <a:t>Rolls-Royce SMR is a totally new way of building nuclear to meet </a:t>
            </a:r>
            <a:r>
              <a:rPr lang="en-GB" sz="1800" dirty="0">
                <a:solidFill>
                  <a:srgbClr val="034F00"/>
                </a:solidFill>
              </a:rPr>
              <a:t>Net Zero </a:t>
            </a:r>
            <a:r>
              <a:rPr lang="en-GB" sz="1800" dirty="0">
                <a:solidFill>
                  <a:srgbClr val="10069F"/>
                </a:solidFill>
              </a:rPr>
              <a:t>need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0982B339-68EC-434B-B435-5D55EADEDE8D}"/>
              </a:ext>
            </a:extLst>
          </p:cNvPr>
          <p:cNvGrpSpPr/>
          <p:nvPr/>
        </p:nvGrpSpPr>
        <p:grpSpPr>
          <a:xfrm>
            <a:off x="347219" y="1156865"/>
            <a:ext cx="8453088" cy="2307470"/>
            <a:chOff x="345128" y="1800059"/>
            <a:chExt cx="8453088" cy="2307470"/>
          </a:xfrm>
        </p:grpSpPr>
        <p:pic>
          <p:nvPicPr>
            <p:cNvPr id="36" name="Picture 2">
              <a:extLst>
                <a:ext uri="{FF2B5EF4-FFF2-40B4-BE49-F238E27FC236}">
                  <a16:creationId xmlns:a16="http://schemas.microsoft.com/office/drawing/2014/main" id="{1C95AF27-6A6F-4721-A560-44E7C5667D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5736" y="1803273"/>
              <a:ext cx="4752528" cy="230425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B15692C7-4DD7-408F-9A11-029969144204}"/>
                </a:ext>
              </a:extLst>
            </p:cNvPr>
            <p:cNvSpPr/>
            <p:nvPr/>
          </p:nvSpPr>
          <p:spPr>
            <a:xfrm>
              <a:off x="345128" y="1800059"/>
              <a:ext cx="1800000" cy="413662"/>
            </a:xfrm>
            <a:prstGeom prst="roundRect">
              <a:avLst/>
            </a:prstGeom>
            <a:solidFill>
              <a:srgbClr val="10069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~470 MWe net output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26525A95-9783-44B4-BB12-976F43E0F709}"/>
                </a:ext>
              </a:extLst>
            </p:cNvPr>
            <p:cNvSpPr/>
            <p:nvPr/>
          </p:nvSpPr>
          <p:spPr>
            <a:xfrm>
              <a:off x="345128" y="2746963"/>
              <a:ext cx="1800000" cy="413662"/>
            </a:xfrm>
            <a:prstGeom prst="roundRect">
              <a:avLst/>
            </a:prstGeom>
            <a:solidFill>
              <a:srgbClr val="10069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Proven PWR Technology &amp; Standard Fuel</a:t>
              </a: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DF5AE14D-517E-4CE6-9319-031E09E3384E}"/>
                </a:ext>
              </a:extLst>
            </p:cNvPr>
            <p:cNvSpPr/>
            <p:nvPr/>
          </p:nvSpPr>
          <p:spPr>
            <a:xfrm>
              <a:off x="345128" y="3220415"/>
              <a:ext cx="1800000" cy="413662"/>
            </a:xfrm>
            <a:prstGeom prst="roundRect">
              <a:avLst/>
            </a:prstGeom>
            <a:solidFill>
              <a:srgbClr val="10069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Power station turnkey delivery</a:t>
              </a: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A4A3BE5F-E857-43A1-AD5E-8132E288F465}"/>
                </a:ext>
              </a:extLst>
            </p:cNvPr>
            <p:cNvSpPr/>
            <p:nvPr/>
          </p:nvSpPr>
          <p:spPr>
            <a:xfrm>
              <a:off x="345128" y="3693867"/>
              <a:ext cx="1800000" cy="413662"/>
            </a:xfrm>
            <a:prstGeom prst="roundRect">
              <a:avLst/>
            </a:prstGeom>
            <a:solidFill>
              <a:srgbClr val="10069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4 </a:t>
              </a:r>
              <a:r>
                <a:rPr kumimoji="0" lang="en-GB" sz="10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yr</a:t>
              </a: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 on-site Construction (Fleet unit)</a:t>
              </a:r>
            </a:p>
          </p:txBody>
        </p:sp>
        <p:sp>
          <p:nvSpPr>
            <p:cNvPr id="46" name="Rectangle: Rounded Corners 45">
              <a:extLst>
                <a:ext uri="{FF2B5EF4-FFF2-40B4-BE49-F238E27FC236}">
                  <a16:creationId xmlns:a16="http://schemas.microsoft.com/office/drawing/2014/main" id="{5CF34DF4-4EB3-4D77-9889-62FD411B4733}"/>
                </a:ext>
              </a:extLst>
            </p:cNvPr>
            <p:cNvSpPr/>
            <p:nvPr/>
          </p:nvSpPr>
          <p:spPr>
            <a:xfrm>
              <a:off x="6998216" y="1803273"/>
              <a:ext cx="1800000" cy="413662"/>
            </a:xfrm>
            <a:prstGeom prst="roundRect">
              <a:avLst/>
            </a:prstGeom>
            <a:solidFill>
              <a:srgbClr val="10069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Enhanced safety and security</a:t>
              </a:r>
            </a:p>
          </p:txBody>
        </p:sp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7060439E-D9BC-4255-B1ED-49598289053C}"/>
                </a:ext>
              </a:extLst>
            </p:cNvPr>
            <p:cNvSpPr/>
            <p:nvPr/>
          </p:nvSpPr>
          <p:spPr>
            <a:xfrm>
              <a:off x="6998216" y="2275922"/>
              <a:ext cx="1800000" cy="413662"/>
            </a:xfrm>
            <a:prstGeom prst="roundRect">
              <a:avLst/>
            </a:prstGeom>
            <a:solidFill>
              <a:srgbClr val="10069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1</a:t>
              </a:r>
              <a:r>
                <a:rPr kumimoji="0" lang="en-GB" sz="1000" b="1" i="0" u="none" strike="noStrike" kern="0" cap="none" spc="0" normalizeH="0" baseline="3000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st</a:t>
              </a: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 unit on grid early 2030s</a:t>
              </a:r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7A9BE964-B49C-4349-809A-F25521F384E2}"/>
                </a:ext>
              </a:extLst>
            </p:cNvPr>
            <p:cNvSpPr/>
            <p:nvPr/>
          </p:nvSpPr>
          <p:spPr>
            <a:xfrm>
              <a:off x="6998216" y="2748571"/>
              <a:ext cx="1800000" cy="413662"/>
            </a:xfrm>
            <a:prstGeom prst="roundRect">
              <a:avLst/>
            </a:prstGeom>
            <a:solidFill>
              <a:srgbClr val="10069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Capital cost under €2.1bn*</a:t>
              </a:r>
            </a:p>
          </p:txBody>
        </p: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3A715FF4-8058-42ED-9788-22792D1BA729}"/>
                </a:ext>
              </a:extLst>
            </p:cNvPr>
            <p:cNvSpPr/>
            <p:nvPr/>
          </p:nvSpPr>
          <p:spPr>
            <a:xfrm>
              <a:off x="6998216" y="3221220"/>
              <a:ext cx="1800000" cy="413662"/>
            </a:xfrm>
            <a:prstGeom prst="roundRect">
              <a:avLst/>
            </a:prstGeom>
            <a:solidFill>
              <a:srgbClr val="10069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Adaptable, multi-use power &amp; heat output</a:t>
              </a:r>
            </a:p>
          </p:txBody>
        </p:sp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72591A02-D244-41BF-B18D-CE13648F72AD}"/>
                </a:ext>
              </a:extLst>
            </p:cNvPr>
            <p:cNvSpPr/>
            <p:nvPr/>
          </p:nvSpPr>
          <p:spPr>
            <a:xfrm>
              <a:off x="6998216" y="3693867"/>
              <a:ext cx="1800000" cy="413662"/>
            </a:xfrm>
            <a:prstGeom prst="roundRect">
              <a:avLst/>
            </a:prstGeom>
            <a:solidFill>
              <a:srgbClr val="10069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lvl="0" algn="ctr" defTabSz="914400">
                <a:spcBef>
                  <a:spcPts val="600"/>
                </a:spcBef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LCOE range €</a:t>
              </a:r>
              <a:r>
                <a:rPr lang="en-GB" sz="1000" b="1" kern="0" dirty="0">
                  <a:solidFill>
                    <a:srgbClr val="FFFFFF"/>
                  </a:solidFill>
                </a:rPr>
                <a:t>50-</a:t>
              </a: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 €</a:t>
              </a:r>
              <a:r>
                <a:rPr lang="en-GB" sz="1000" b="1" kern="0" dirty="0">
                  <a:solidFill>
                    <a:srgbClr val="FFFFFF"/>
                  </a:solidFill>
                </a:rPr>
                <a:t>70 per </a:t>
              </a: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MWh**</a:t>
              </a:r>
            </a:p>
          </p:txBody>
        </p:sp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8FF9418F-1115-4D30-A6CF-D9DCE8C8DCD2}"/>
                </a:ext>
              </a:extLst>
            </p:cNvPr>
            <p:cNvSpPr/>
            <p:nvPr/>
          </p:nvSpPr>
          <p:spPr>
            <a:xfrm>
              <a:off x="345128" y="2273511"/>
              <a:ext cx="1800000" cy="413662"/>
            </a:xfrm>
            <a:prstGeom prst="roundRect">
              <a:avLst/>
            </a:prstGeom>
            <a:solidFill>
              <a:srgbClr val="10069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R Pioneer"/>
                  <a:ea typeface="+mn-ea"/>
                  <a:cs typeface="+mn-cs"/>
                </a:rPr>
                <a:t>50 Hz design</a:t>
              </a: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FA1262D7-916F-4351-876C-7835D728A68D}"/>
              </a:ext>
            </a:extLst>
          </p:cNvPr>
          <p:cNvSpPr txBox="1"/>
          <p:nvPr/>
        </p:nvSpPr>
        <p:spPr>
          <a:xfrm>
            <a:off x="4850424" y="4779296"/>
            <a:ext cx="45962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500" dirty="0">
                <a:solidFill>
                  <a:srgbClr val="10069F"/>
                </a:solidFill>
              </a:rPr>
              <a:t>*  2021 economics, fleet unit; £1:€1.1406 (5yr average), costs based on UK labour rates</a:t>
            </a:r>
          </a:p>
          <a:p>
            <a:r>
              <a:rPr lang="en-GB" sz="500" dirty="0">
                <a:solidFill>
                  <a:srgbClr val="10069F"/>
                </a:solidFill>
              </a:rPr>
              <a:t>** 2021 economics, 2 unit plant, range dependent on financing mechanism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D5A72FF-804D-43A0-84B2-79C6707FFA16}"/>
              </a:ext>
            </a:extLst>
          </p:cNvPr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92634" y="3528999"/>
            <a:ext cx="1022501" cy="920858"/>
          </a:xfrm>
          <a:prstGeom prst="rect">
            <a:avLst/>
          </a:prstGeom>
          <a:noFill/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5EBC495-78DE-47EB-A0BE-E4022A8C06BD}"/>
              </a:ext>
            </a:extLst>
          </p:cNvPr>
          <p:cNvPicPr/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902" y="3528999"/>
            <a:ext cx="1022499" cy="953399"/>
          </a:xfrm>
          <a:prstGeom prst="rect">
            <a:avLst/>
          </a:prstGeom>
          <a:noFill/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6D2BAE0-5E7D-40A4-ADC6-6A62FCEB4360}"/>
              </a:ext>
            </a:extLst>
          </p:cNvPr>
          <p:cNvPicPr/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0219" y="3528999"/>
            <a:ext cx="1069450" cy="930603"/>
          </a:xfrm>
          <a:prstGeom prst="rect">
            <a:avLst/>
          </a:prstGeom>
          <a:noFill/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D7671AE8-8354-4E95-956B-8AFC5B9C82FA}"/>
              </a:ext>
            </a:extLst>
          </p:cNvPr>
          <p:cNvPicPr/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5969" y="3540396"/>
            <a:ext cx="1022499" cy="93060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965034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2">
            <a:extLst>
              <a:ext uri="{FF2B5EF4-FFF2-40B4-BE49-F238E27FC236}">
                <a16:creationId xmlns:a16="http://schemas.microsoft.com/office/drawing/2014/main" id="{D35615ED-BB62-4EAF-9AD7-F5B52BE27A56}"/>
              </a:ext>
            </a:extLst>
          </p:cNvPr>
          <p:cNvSpPr txBox="1">
            <a:spLocks/>
          </p:cNvSpPr>
          <p:nvPr/>
        </p:nvSpPr>
        <p:spPr>
          <a:xfrm>
            <a:off x="1301698" y="188439"/>
            <a:ext cx="7842302" cy="51682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Font typeface="+mj-lt"/>
              <a:buNone/>
              <a:defRPr sz="2400" b="0" kern="1200">
                <a:solidFill>
                  <a:srgbClr val="4F98FF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n-GB" sz="1800">
                <a:solidFill>
                  <a:schemeClr val="bg2"/>
                </a:solidFill>
              </a:rPr>
              <a:t>Power Station Overview</a:t>
            </a:r>
            <a:br>
              <a:rPr lang="en-GB" sz="1800">
                <a:solidFill>
                  <a:schemeClr val="bg2"/>
                </a:solidFill>
              </a:rPr>
            </a:br>
            <a:r>
              <a:rPr lang="en-GB" sz="1800">
                <a:solidFill>
                  <a:schemeClr val="bg2"/>
                </a:solidFill>
              </a:rPr>
              <a:t>- </a:t>
            </a:r>
            <a:r>
              <a:rPr lang="en-GB" sz="1800" i="1">
                <a:solidFill>
                  <a:schemeClr val="bg2"/>
                </a:solidFill>
              </a:rPr>
              <a:t>Performance and Characterisation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5D85D46B-1B47-4D78-AAA8-66CECB54DA31}"/>
              </a:ext>
            </a:extLst>
          </p:cNvPr>
          <p:cNvGraphicFramePr>
            <a:graphicFrameLocks noGrp="1"/>
          </p:cNvGraphicFramePr>
          <p:nvPr/>
        </p:nvGraphicFramePr>
        <p:xfrm>
          <a:off x="5573850" y="1098549"/>
          <a:ext cx="3292103" cy="3293912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6855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06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8032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AJOR TECHNICAL PARAMETERS:</a:t>
                      </a:r>
                      <a:endParaRPr lang="en-GB" sz="1000" b="1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0069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900" b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rameter</a:t>
                      </a:r>
                      <a:endParaRPr lang="en-GB" sz="900" b="1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0069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900" b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Value</a:t>
                      </a:r>
                      <a:endParaRPr lang="en-GB" sz="900" b="1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006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Reactor Type</a:t>
                      </a:r>
                      <a:endParaRPr lang="en-GB" sz="9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ressurised Water Reactor</a:t>
                      </a:r>
                      <a:endParaRPr lang="en-GB" sz="9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lectrical Capacity (MWe)</a:t>
                      </a:r>
                      <a:endParaRPr lang="en-GB" sz="9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70</a:t>
                      </a:r>
                      <a:endParaRPr lang="en-GB" sz="9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Thermal Capacity (</a:t>
                      </a:r>
                      <a:r>
                        <a:rPr lang="en-GB" sz="800" b="1" err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Wth</a:t>
                      </a: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  <a:endParaRPr lang="en-GB" sz="9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358</a:t>
                      </a:r>
                      <a:endParaRPr lang="en-GB" sz="9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xpected Capacity Factor (%)</a:t>
                      </a:r>
                      <a:endParaRPr lang="en-GB" sz="9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&gt;95</a:t>
                      </a:r>
                      <a:endParaRPr lang="en-GB" sz="9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Design Life (years)</a:t>
                      </a:r>
                      <a:endParaRPr lang="en-GB" sz="9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60</a:t>
                      </a:r>
                      <a:endParaRPr lang="en-GB" sz="9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rimary Plant Footprint (m</a:t>
                      </a:r>
                      <a:r>
                        <a:rPr lang="en-GB" sz="800" b="1" baseline="300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  <a:endParaRPr lang="en-GB" sz="9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5,000</a:t>
                      </a:r>
                      <a:endParaRPr lang="en-GB" sz="9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ower Conversion Process</a:t>
                      </a:r>
                      <a:endParaRPr lang="en-GB" sz="9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Rankine cycle</a:t>
                      </a:r>
                      <a:endParaRPr lang="en-GB" sz="9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ogeneration Capability</a:t>
                      </a:r>
                      <a:endParaRPr lang="en-GB" sz="9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Optional configuration</a:t>
                      </a:r>
                      <a:endParaRPr lang="en-GB" sz="9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36000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ssive Safety Features</a:t>
                      </a:r>
                      <a:endParaRPr lang="en-GB" sz="8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Yes</a:t>
                      </a:r>
                      <a:endParaRPr lang="en-GB" sz="800" b="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ctive Safety Features</a:t>
                      </a:r>
                      <a:endParaRPr lang="en-GB" sz="8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Yes</a:t>
                      </a:r>
                      <a:endParaRPr lang="en-GB" sz="8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Fuel Type / Assembly Array</a:t>
                      </a:r>
                      <a:endParaRPr lang="en-GB" sz="8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Industry Std UO</a:t>
                      </a:r>
                      <a:r>
                        <a:rPr lang="en-GB" sz="800" baseline="-250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in 17x17 array</a:t>
                      </a:r>
                      <a:endParaRPr lang="en-GB" sz="8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Fuel Cycle (months)</a:t>
                      </a:r>
                      <a:endParaRPr lang="en-GB" sz="8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8 – 24</a:t>
                      </a:r>
                      <a:endParaRPr lang="en-GB" sz="8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mergency Safety Systems</a:t>
                      </a:r>
                      <a:endParaRPr lang="en-GB" sz="8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ssive</a:t>
                      </a:r>
                      <a:endParaRPr lang="en-GB" sz="8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Refuelling Outage (Days)</a:t>
                      </a:r>
                      <a:endParaRPr lang="en-GB" sz="8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8</a:t>
                      </a:r>
                      <a:endParaRPr lang="en-GB" sz="8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Seismic Design (g)</a:t>
                      </a:r>
                      <a:endParaRPr lang="en-GB" sz="8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.3</a:t>
                      </a:r>
                      <a:endParaRPr lang="en-GB" sz="8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ore Damage Frequency (per </a:t>
                      </a:r>
                      <a:r>
                        <a:rPr lang="en-GB" sz="800" b="1" err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yr</a:t>
                      </a:r>
                      <a:r>
                        <a:rPr lang="en-GB" sz="800" b="1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  <a:endParaRPr lang="en-GB" sz="800" b="1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631190" algn="l"/>
                          <a:tab pos="887095" algn="l"/>
                          <a:tab pos="1088390" algn="l"/>
                        </a:tabLst>
                      </a:pPr>
                      <a:r>
                        <a:rPr lang="en-GB" sz="8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&lt;1</a:t>
                      </a:r>
                      <a:r>
                        <a:rPr lang="en-GB" sz="800" baseline="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x 10</a:t>
                      </a:r>
                      <a:r>
                        <a:rPr lang="en-GB" sz="800" baseline="30000">
                          <a:solidFill>
                            <a:schemeClr val="bg2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-7</a:t>
                      </a:r>
                      <a:endParaRPr lang="en-GB" sz="800" baseline="30000">
                        <a:solidFill>
                          <a:schemeClr val="bg2"/>
                        </a:solidFill>
                        <a:effectLst/>
                        <a:latin typeface="+mn-lt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40938" marR="40938" marT="18000" marB="36000" anchor="ctr">
                    <a:lnL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006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A7358D9D-2ED5-429E-A97E-5CCCCBB9A22F}"/>
              </a:ext>
            </a:extLst>
          </p:cNvPr>
          <p:cNvSpPr/>
          <p:nvPr/>
        </p:nvSpPr>
        <p:spPr>
          <a:xfrm>
            <a:off x="1281774" y="751039"/>
            <a:ext cx="85841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The key performance parameters and characteristics that define the power station.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12E3B02-4DB3-444A-AFD4-EA8896897F40}"/>
              </a:ext>
            </a:extLst>
          </p:cNvPr>
          <p:cNvSpPr/>
          <p:nvPr/>
        </p:nvSpPr>
        <p:spPr>
          <a:xfrm>
            <a:off x="361762" y="4032883"/>
            <a:ext cx="495721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200" b="1">
                <a:solidFill>
                  <a:schemeClr val="bg2"/>
                </a:solidFill>
              </a:rPr>
              <a:t>An integrated whole power station approach focused on standardisation, repeatability and commoditisation</a:t>
            </a:r>
            <a:endParaRPr lang="en-GB" sz="1100" b="1">
              <a:solidFill>
                <a:schemeClr val="bg2"/>
              </a:solidFill>
            </a:endParaRPr>
          </a:p>
        </p:txBody>
      </p:sp>
      <p:pic>
        <p:nvPicPr>
          <p:cNvPr id="9" name="Picture 8" descr="A picture containing grass, nature&#10;&#10;Description automatically generated">
            <a:extLst>
              <a:ext uri="{FF2B5EF4-FFF2-40B4-BE49-F238E27FC236}">
                <a16:creationId xmlns:a16="http://schemas.microsoft.com/office/drawing/2014/main" id="{6F4713B3-65AC-48DB-B479-1B56A45650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87" y="1073814"/>
            <a:ext cx="5466963" cy="307802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8580812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E9B89789-0766-45BA-B51B-B24C9D3825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E9B89789-0766-45BA-B51B-B24C9D3825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/>
        </p:nvSpPr>
        <p:spPr>
          <a:xfrm>
            <a:off x="2573957" y="2618673"/>
            <a:ext cx="6173289" cy="653531"/>
          </a:xfrm>
          <a:prstGeom prst="roundRect">
            <a:avLst/>
          </a:prstGeom>
          <a:solidFill>
            <a:srgbClr val="007588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223713" y="1176362"/>
            <a:ext cx="1786647" cy="955675"/>
          </a:xfrm>
        </p:spPr>
        <p:txBody>
          <a:bodyPr vert="horz" lIns="91438" tIns="45719" rIns="91438" bIns="45719" rtlCol="0">
            <a:noAutofit/>
          </a:bodyPr>
          <a:lstStyle/>
          <a:p>
            <a:pPr defTabSz="685800">
              <a:spcBef>
                <a:spcPct val="0"/>
              </a:spcBef>
              <a:buClr>
                <a:srgbClr val="004777"/>
              </a:buClr>
              <a:defRPr/>
            </a:pPr>
            <a:r>
              <a:rPr lang="en-GB" sz="1400" dirty="0">
                <a:solidFill>
                  <a:srgbClr val="006DFF"/>
                </a:solidFill>
              </a:rPr>
              <a:t>The SMR design has been driven by market requirements from conception</a:t>
            </a:r>
          </a:p>
          <a:p>
            <a:pPr defTabSz="685800">
              <a:spcBef>
                <a:spcPct val="0"/>
              </a:spcBef>
              <a:buClr>
                <a:srgbClr val="004777"/>
              </a:buClr>
              <a:defRPr/>
            </a:pPr>
            <a:endParaRPr lang="en-GB" sz="1400" dirty="0">
              <a:solidFill>
                <a:srgbClr val="006DFF"/>
              </a:solidFill>
            </a:endParaRPr>
          </a:p>
          <a:p>
            <a:pPr defTabSz="685800">
              <a:spcBef>
                <a:spcPct val="0"/>
              </a:spcBef>
              <a:buClr>
                <a:srgbClr val="004777"/>
              </a:buClr>
              <a:defRPr/>
            </a:pPr>
            <a:r>
              <a:rPr lang="en-GB" sz="1400" dirty="0">
                <a:solidFill>
                  <a:srgbClr val="007588"/>
                </a:solidFill>
              </a:rPr>
              <a:t>Those that we can control within the design</a:t>
            </a:r>
          </a:p>
          <a:p>
            <a:pPr defTabSz="685800">
              <a:spcBef>
                <a:spcPct val="0"/>
              </a:spcBef>
              <a:buClr>
                <a:srgbClr val="004777"/>
              </a:buClr>
              <a:defRPr/>
            </a:pPr>
            <a:endParaRPr lang="en-GB" sz="1400" dirty="0">
              <a:solidFill>
                <a:srgbClr val="006DFF"/>
              </a:solidFill>
            </a:endParaRPr>
          </a:p>
          <a:p>
            <a:pPr defTabSz="685800">
              <a:spcBef>
                <a:spcPct val="0"/>
              </a:spcBef>
              <a:buClr>
                <a:srgbClr val="004777"/>
              </a:buClr>
              <a:defRPr/>
            </a:pPr>
            <a:r>
              <a:rPr lang="en-GB" sz="1400" dirty="0">
                <a:solidFill>
                  <a:schemeClr val="tx2"/>
                </a:solidFill>
              </a:rPr>
              <a:t>Those that we must recognise as key influencing factors on design and technology choices</a:t>
            </a:r>
          </a:p>
          <a:p>
            <a:endParaRPr lang="en-GB" sz="1400" dirty="0">
              <a:solidFill>
                <a:schemeClr val="tx2"/>
              </a:solidFill>
            </a:endParaRPr>
          </a:p>
          <a:p>
            <a:endParaRPr lang="en-GB" sz="1200" dirty="0"/>
          </a:p>
        </p:txBody>
      </p:sp>
      <p:sp>
        <p:nvSpPr>
          <p:cNvPr id="5" name="Rectangle 4"/>
          <p:cNvSpPr/>
          <p:nvPr/>
        </p:nvSpPr>
        <p:spPr>
          <a:xfrm>
            <a:off x="2441698" y="1706761"/>
            <a:ext cx="6478588" cy="2391343"/>
          </a:xfrm>
          <a:prstGeom prst="rect">
            <a:avLst/>
          </a:prstGeom>
          <a:noFill/>
          <a:ln w="28575">
            <a:solidFill>
              <a:srgbClr val="10069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57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69930" y="1792872"/>
            <a:ext cx="1383800" cy="931048"/>
          </a:xfrm>
          <a:prstGeom prst="rect">
            <a:avLst/>
          </a:prstGeom>
          <a:noFill/>
          <a:ln>
            <a:noFill/>
          </a:ln>
        </p:spPr>
        <p:txBody>
          <a:bodyPr wrap="square" lIns="91438" tIns="45719" rIns="91438" bIns="45719">
            <a:noAutofit/>
          </a:bodyPr>
          <a:lstStyle/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7588"/>
                </a:solidFill>
                <a:effectLst/>
                <a:uLnTx/>
                <a:uFillTx/>
                <a:latin typeface="RR Pioneer" panose="020B0503050201040103" pitchFamily="34" charset="0"/>
                <a:ea typeface="+mn-ea"/>
                <a:cs typeface="Arial" pitchFamily="34" charset="0"/>
              </a:rPr>
              <a:t>Reduce </a:t>
            </a:r>
          </a:p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7588"/>
                </a:solidFill>
                <a:effectLst/>
                <a:uLnTx/>
                <a:uFillTx/>
                <a:latin typeface="RR Pioneer" panose="020B0503050201040103" pitchFamily="34" charset="0"/>
                <a:ea typeface="+mn-ea"/>
                <a:cs typeface="Arial" pitchFamily="34" charset="0"/>
              </a:rPr>
              <a:t>Capex &amp; </a:t>
            </a:r>
            <a:r>
              <a:rPr kumimoji="0" lang="en-GB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7588"/>
                </a:solidFill>
                <a:effectLst/>
                <a:uLnTx/>
                <a:uFillTx/>
                <a:latin typeface="RR Pioneer" panose="020B0503050201040103" pitchFamily="34" charset="0"/>
                <a:ea typeface="+mn-ea"/>
                <a:cs typeface="Arial" pitchFamily="34" charset="0"/>
              </a:rPr>
              <a:t>Opex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7588"/>
              </a:solidFill>
              <a:effectLst/>
              <a:uLnTx/>
              <a:uFillTx/>
              <a:latin typeface="RR Pioneer" panose="020B0503050201040103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245536" y="2669399"/>
            <a:ext cx="4515554" cy="261608"/>
          </a:xfrm>
          <a:prstGeom prst="rect">
            <a:avLst/>
          </a:prstGeom>
          <a:noFill/>
          <a:ln>
            <a:noFill/>
          </a:ln>
        </p:spPr>
        <p:txBody>
          <a:bodyPr wrap="square" lIns="91438" tIns="45719" rIns="91438" bIns="45719">
            <a:spAutoFit/>
          </a:bodyPr>
          <a:lstStyle/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Arial" pitchFamily="34" charset="0"/>
              </a:rPr>
              <a:t>Capex + total O&amp;M + Decom + Fuel + Financing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408572" y="2981389"/>
            <a:ext cx="4111047" cy="261608"/>
          </a:xfrm>
          <a:prstGeom prst="rect">
            <a:avLst/>
          </a:prstGeom>
          <a:noFill/>
          <a:ln>
            <a:noFill/>
          </a:ln>
        </p:spPr>
        <p:txBody>
          <a:bodyPr wrap="square" lIns="91438" tIns="45719" rIns="91438" bIns="45719">
            <a:spAutoFit/>
          </a:bodyPr>
          <a:lstStyle/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Arial" pitchFamily="34" charset="0"/>
              </a:rPr>
              <a:t>Power Generation x Capacity facto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193247" y="1798922"/>
            <a:ext cx="2108200" cy="931048"/>
          </a:xfrm>
          <a:prstGeom prst="rect">
            <a:avLst/>
          </a:prstGeom>
          <a:noFill/>
          <a:ln>
            <a:noFill/>
          </a:ln>
        </p:spPr>
        <p:txBody>
          <a:bodyPr lIns="91438" tIns="45719" rIns="91438" bIns="45719">
            <a:noAutofit/>
          </a:bodyPr>
          <a:lstStyle/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7588"/>
                </a:solidFill>
                <a:effectLst/>
                <a:uLnTx/>
                <a:uFillTx/>
                <a:latin typeface="RR Pioneer" panose="020B0503050201040103" pitchFamily="34" charset="0"/>
                <a:ea typeface="+mn-ea"/>
                <a:cs typeface="Arial" pitchFamily="34" charset="0"/>
              </a:rPr>
              <a:t>Remove / </a:t>
            </a:r>
          </a:p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7588"/>
                </a:solidFill>
                <a:effectLst/>
                <a:uLnTx/>
                <a:uFillTx/>
                <a:latin typeface="RR Pioneer" panose="020B0503050201040103" pitchFamily="34" charset="0"/>
                <a:ea typeface="+mn-ea"/>
                <a:cs typeface="Arial" pitchFamily="34" charset="0"/>
              </a:rPr>
              <a:t>Reduce Risk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146643" y="1804072"/>
            <a:ext cx="1591133" cy="372650"/>
          </a:xfrm>
          <a:prstGeom prst="rect">
            <a:avLst/>
          </a:prstGeom>
          <a:noFill/>
          <a:ln>
            <a:noFill/>
          </a:ln>
        </p:spPr>
        <p:txBody>
          <a:bodyPr wrap="square" lIns="91438" tIns="45719" rIns="91438" bIns="45719">
            <a:noAutofit/>
          </a:bodyPr>
          <a:lstStyle/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7588"/>
                </a:solidFill>
                <a:effectLst/>
                <a:uLnTx/>
                <a:uFillTx/>
                <a:latin typeface="RR Pioneer" panose="020B0503050201040103" pitchFamily="34" charset="0"/>
                <a:ea typeface="+mn-ea"/>
                <a:cs typeface="Arial" pitchFamily="34" charset="0"/>
              </a:rPr>
              <a:t>Minimise </a:t>
            </a:r>
          </a:p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7588"/>
                </a:solidFill>
                <a:effectLst/>
                <a:uLnTx/>
                <a:uFillTx/>
                <a:latin typeface="RR Pioneer" panose="020B0503050201040103" pitchFamily="34" charset="0"/>
                <a:ea typeface="+mn-ea"/>
                <a:cs typeface="Arial" pitchFamily="34" charset="0"/>
              </a:rPr>
              <a:t>Time to Build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7588"/>
              </a:solidFill>
              <a:effectLst/>
              <a:uLnTx/>
              <a:uFillTx/>
              <a:latin typeface="RR Pioneer" panose="020B0503050201040103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240672" y="3645565"/>
            <a:ext cx="1417590" cy="1097458"/>
          </a:xfrm>
          <a:prstGeom prst="rect">
            <a:avLst/>
          </a:prstGeom>
          <a:noFill/>
          <a:ln>
            <a:noFill/>
          </a:ln>
        </p:spPr>
        <p:txBody>
          <a:bodyPr wrap="square" lIns="91438" tIns="45719" rIns="91438" bIns="45719">
            <a:noAutofit/>
          </a:bodyPr>
          <a:lstStyle/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7588"/>
                </a:solidFill>
                <a:effectLst/>
                <a:uLnTx/>
                <a:uFillTx/>
                <a:latin typeface="RR Pioneer" panose="020B0503050201040103" pitchFamily="34" charset="0"/>
                <a:ea typeface="+mn-ea"/>
                <a:cs typeface="Arial" pitchFamily="34" charset="0"/>
              </a:rPr>
              <a:t>Maximise Efficiency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417991" y="3621684"/>
            <a:ext cx="1829949" cy="1097459"/>
          </a:xfrm>
          <a:prstGeom prst="rect">
            <a:avLst/>
          </a:prstGeom>
          <a:noFill/>
          <a:ln>
            <a:noFill/>
          </a:ln>
        </p:spPr>
        <p:txBody>
          <a:bodyPr wrap="square" lIns="91438" tIns="45719" rIns="91438" bIns="45719">
            <a:noAutofit/>
          </a:bodyPr>
          <a:lstStyle/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7588"/>
                </a:solidFill>
                <a:effectLst/>
                <a:uLnTx/>
                <a:uFillTx/>
                <a:latin typeface="RR Pioneer" panose="020B0503050201040103" pitchFamily="34" charset="0"/>
                <a:ea typeface="+mn-ea"/>
                <a:cs typeface="Arial" pitchFamily="34" charset="0"/>
              </a:rPr>
              <a:t>Maximise </a:t>
            </a:r>
          </a:p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7588"/>
                </a:solidFill>
                <a:effectLst/>
                <a:uLnTx/>
                <a:uFillTx/>
                <a:latin typeface="RR Pioneer" panose="020B0503050201040103" pitchFamily="34" charset="0"/>
                <a:ea typeface="+mn-ea"/>
                <a:cs typeface="Arial" pitchFamily="34" charset="0"/>
              </a:rPr>
              <a:t>Reliability 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890585" y="3621536"/>
            <a:ext cx="1534673" cy="1097757"/>
          </a:xfrm>
          <a:prstGeom prst="rect">
            <a:avLst/>
          </a:prstGeom>
          <a:noFill/>
          <a:ln>
            <a:noFill/>
          </a:ln>
        </p:spPr>
        <p:txBody>
          <a:bodyPr wrap="square" lIns="91438" tIns="45719" rIns="91438" bIns="45719">
            <a:noAutofit/>
          </a:bodyPr>
          <a:lstStyle/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7588"/>
                </a:solidFill>
                <a:effectLst/>
                <a:uLnTx/>
                <a:uFillTx/>
                <a:latin typeface="RR Pioneer" panose="020B0503050201040103" pitchFamily="34" charset="0"/>
                <a:ea typeface="+mn-ea"/>
                <a:cs typeface="Arial" pitchFamily="34" charset="0"/>
              </a:rPr>
              <a:t>Maximise </a:t>
            </a:r>
          </a:p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>
                <a:ln>
                  <a:noFill/>
                </a:ln>
                <a:solidFill>
                  <a:srgbClr val="007588"/>
                </a:solidFill>
                <a:effectLst/>
                <a:uLnTx/>
                <a:uFillTx/>
                <a:latin typeface="RR Pioneer" panose="020B0503050201040103" pitchFamily="34" charset="0"/>
                <a:ea typeface="+mn-ea"/>
                <a:cs typeface="Arial" pitchFamily="34" charset="0"/>
              </a:rPr>
              <a:t>Power </a:t>
            </a:r>
          </a:p>
        </p:txBody>
      </p:sp>
      <p:sp>
        <p:nvSpPr>
          <p:cNvPr id="2" name="Rectangle 1"/>
          <p:cNvSpPr/>
          <p:nvPr/>
        </p:nvSpPr>
        <p:spPr>
          <a:xfrm>
            <a:off x="2400917" y="2695634"/>
            <a:ext cx="1993811" cy="461663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Arial" pitchFamily="34" charset="0"/>
              </a:rPr>
              <a:t>LCOE</a:t>
            </a:r>
          </a:p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Arial" pitchFamily="34" charset="0"/>
              </a:rPr>
              <a:t>Levelized Cost of Electricity</a:t>
            </a:r>
          </a:p>
          <a:p>
            <a:pPr marL="0" marR="0" lvl="0" indent="0" algn="ctr" defTabSz="534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Arial" pitchFamily="34" charset="0"/>
              </a:rPr>
              <a:t> (EUR/</a:t>
            </a:r>
            <a:r>
              <a:rPr kumimoji="0" lang="en-GB" sz="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Arial" pitchFamily="34" charset="0"/>
              </a:rPr>
              <a:t>MWh) </a:t>
            </a:r>
            <a:endParaRPr kumimoji="0" lang="en-GB" sz="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R Pioneer"/>
              <a:ea typeface="+mn-ea"/>
              <a:cs typeface="Arial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996921" y="2751652"/>
            <a:ext cx="429922" cy="369330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R Pioneer"/>
                <a:ea typeface="+mn-ea"/>
                <a:cs typeface="Arial" pitchFamily="34" charset="0"/>
              </a:rPr>
              <a:t> = </a:t>
            </a:r>
            <a:endParaRPr kumimoji="0" lang="en-GB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R Pioneer"/>
              <a:ea typeface="+mn-ea"/>
              <a:cs typeface="Arial" charset="0"/>
            </a:endParaRPr>
          </a:p>
        </p:txBody>
      </p:sp>
      <p:sp>
        <p:nvSpPr>
          <p:cNvPr id="4" name="Down Arrow 3"/>
          <p:cNvSpPr/>
          <p:nvPr/>
        </p:nvSpPr>
        <p:spPr bwMode="auto">
          <a:xfrm>
            <a:off x="4499578" y="2242093"/>
            <a:ext cx="372764" cy="294032"/>
          </a:xfrm>
          <a:prstGeom prst="downArrow">
            <a:avLst/>
          </a:prstGeom>
          <a:solidFill>
            <a:srgbClr val="00758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1" u="none" strike="noStrike" kern="1200" cap="none" spc="0" normalizeH="0" baseline="0" noProof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9" name="Down Arrow 38"/>
          <p:cNvSpPr/>
          <p:nvPr/>
        </p:nvSpPr>
        <p:spPr bwMode="auto">
          <a:xfrm>
            <a:off x="6133610" y="2228087"/>
            <a:ext cx="372764" cy="294032"/>
          </a:xfrm>
          <a:prstGeom prst="downArrow">
            <a:avLst/>
          </a:prstGeom>
          <a:solidFill>
            <a:srgbClr val="00758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1" u="none" strike="noStrike" kern="1200" cap="none" spc="0" normalizeH="0" baseline="0" noProof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0" name="Down Arrow 39"/>
          <p:cNvSpPr/>
          <p:nvPr/>
        </p:nvSpPr>
        <p:spPr bwMode="auto">
          <a:xfrm>
            <a:off x="7767642" y="2228087"/>
            <a:ext cx="372764" cy="264335"/>
          </a:xfrm>
          <a:prstGeom prst="downArrow">
            <a:avLst/>
          </a:prstGeom>
          <a:solidFill>
            <a:srgbClr val="00758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1" u="none" strike="noStrike" kern="1200" cap="none" spc="0" normalizeH="0" baseline="0" noProof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1" name="Down Arrow 40"/>
          <p:cNvSpPr/>
          <p:nvPr/>
        </p:nvSpPr>
        <p:spPr bwMode="auto">
          <a:xfrm rot="10800000">
            <a:off x="7767642" y="3332302"/>
            <a:ext cx="372764" cy="294032"/>
          </a:xfrm>
          <a:prstGeom prst="downArrow">
            <a:avLst/>
          </a:prstGeom>
          <a:solidFill>
            <a:srgbClr val="007588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2" name="Down Arrow 41"/>
          <p:cNvSpPr/>
          <p:nvPr/>
        </p:nvSpPr>
        <p:spPr bwMode="auto">
          <a:xfrm rot="10800000">
            <a:off x="6133610" y="3351535"/>
            <a:ext cx="372764" cy="294032"/>
          </a:xfrm>
          <a:prstGeom prst="downArrow">
            <a:avLst/>
          </a:prstGeom>
          <a:solidFill>
            <a:srgbClr val="007588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3" name="Down Arrow 42"/>
          <p:cNvSpPr/>
          <p:nvPr/>
        </p:nvSpPr>
        <p:spPr bwMode="auto">
          <a:xfrm rot="10800000">
            <a:off x="4499578" y="3332302"/>
            <a:ext cx="372764" cy="294032"/>
          </a:xfrm>
          <a:prstGeom prst="downArrow">
            <a:avLst/>
          </a:prstGeom>
          <a:solidFill>
            <a:srgbClr val="007588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4559944" y="2985556"/>
            <a:ext cx="391533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/>
          <p:cNvSpPr/>
          <p:nvPr/>
        </p:nvSpPr>
        <p:spPr>
          <a:xfrm>
            <a:off x="2458631" y="1264033"/>
            <a:ext cx="1350434" cy="307239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Regulatory / Safety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4067682" y="1264033"/>
            <a:ext cx="1634505" cy="307239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Proliferation Resistant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5960803" y="1264033"/>
            <a:ext cx="1350434" cy="307239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Market Timing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7569853" y="1264033"/>
            <a:ext cx="1350434" cy="307239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Code Compliance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2441697" y="4227003"/>
            <a:ext cx="1528233" cy="44958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Compatibility with support Infrastructure and Sites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4129194" y="4227003"/>
            <a:ext cx="924612" cy="44958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Public Perception</a:t>
            </a:r>
          </a:p>
        </p:txBody>
      </p:sp>
      <p:sp>
        <p:nvSpPr>
          <p:cNvPr id="46" name="Rounded Rectangle 45"/>
          <p:cNvSpPr/>
          <p:nvPr/>
        </p:nvSpPr>
        <p:spPr>
          <a:xfrm>
            <a:off x="6824377" y="4227003"/>
            <a:ext cx="1084158" cy="44958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Delivery Partnership Potential</a:t>
            </a:r>
          </a:p>
        </p:txBody>
      </p:sp>
      <p:sp>
        <p:nvSpPr>
          <p:cNvPr id="47" name="Rounded Rectangle 46"/>
          <p:cNvSpPr/>
          <p:nvPr/>
        </p:nvSpPr>
        <p:spPr>
          <a:xfrm>
            <a:off x="8067799" y="4227003"/>
            <a:ext cx="852487" cy="44958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Global Market</a:t>
            </a:r>
          </a:p>
        </p:txBody>
      </p:sp>
      <p:sp>
        <p:nvSpPr>
          <p:cNvPr id="48" name="Rounded Rectangle 47"/>
          <p:cNvSpPr/>
          <p:nvPr/>
        </p:nvSpPr>
        <p:spPr>
          <a:xfrm>
            <a:off x="5213071" y="4227003"/>
            <a:ext cx="1452043" cy="44958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Utility Familiarisation / Selection of Technology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652AE6F0-A1D8-914D-DD5B-E659AD3A4F79}"/>
              </a:ext>
            </a:extLst>
          </p:cNvPr>
          <p:cNvPicPr/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4750" y="128668"/>
            <a:ext cx="1022501" cy="920858"/>
          </a:xfrm>
          <a:prstGeom prst="rect">
            <a:avLst/>
          </a:prstGeom>
          <a:noFill/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9DEF661E-6D95-F382-BDB4-C305A56BDB8C}"/>
              </a:ext>
            </a:extLst>
          </p:cNvPr>
          <p:cNvPicPr/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74560" y="107971"/>
            <a:ext cx="1022499" cy="953399"/>
          </a:xfrm>
          <a:prstGeom prst="rect">
            <a:avLst/>
          </a:prstGeom>
          <a:noFill/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BC549BFD-92F0-C6D4-07FD-91F47CB2E4C2}"/>
              </a:ext>
            </a:extLst>
          </p:cNvPr>
          <p:cNvPicPr/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99892" y="131960"/>
            <a:ext cx="1069450" cy="930603"/>
          </a:xfrm>
          <a:prstGeom prst="rect">
            <a:avLst/>
          </a:prstGeom>
          <a:noFill/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C3574729-17C6-D7C8-1464-9157C3C5E9B2}"/>
              </a:ext>
            </a:extLst>
          </p:cNvPr>
          <p:cNvPicPr/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79689" y="135193"/>
            <a:ext cx="1022499" cy="93060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51768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69958C29-8F38-4B20-9E88-DCD5059BAD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69958C29-8F38-4B20-9E88-DCD5059BAD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0AAE24-6D2B-5640-BD0D-E98840D44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7995" y="263469"/>
            <a:ext cx="7444196" cy="516824"/>
          </a:xfrm>
        </p:spPr>
        <p:txBody>
          <a:bodyPr vert="horz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004777"/>
              </a:buClr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6DFF"/>
                </a:solidFill>
                <a:effectLst/>
                <a:uLnTx/>
                <a:uFillTx/>
                <a:latin typeface="RR Pioneer Bold" panose="020B0803050201040103" pitchFamily="34" charset="0"/>
                <a:ea typeface="+mj-ea"/>
                <a:cs typeface="Arial" panose="020B0604020202020204" pitchFamily="34" charset="0"/>
              </a:rPr>
              <a:t>Not all SMRs are the same - to deliver cost reduction, schedule reduction, and certainty we must not reproduce a “small” large plant</a:t>
            </a:r>
          </a:p>
        </p:txBody>
      </p:sp>
      <p:sp>
        <p:nvSpPr>
          <p:cNvPr id="71" name="Text Placeholder 3">
            <a:extLst>
              <a:ext uri="{FF2B5EF4-FFF2-40B4-BE49-F238E27FC236}">
                <a16:creationId xmlns:a16="http://schemas.microsoft.com/office/drawing/2014/main" id="{858595F5-105F-2505-5CA2-CB9FCD9FF777}"/>
              </a:ext>
            </a:extLst>
          </p:cNvPr>
          <p:cNvSpPr txBox="1">
            <a:spLocks/>
          </p:cNvSpPr>
          <p:nvPr/>
        </p:nvSpPr>
        <p:spPr>
          <a:xfrm>
            <a:off x="146709" y="1063408"/>
            <a:ext cx="5109708" cy="344260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004777"/>
              </a:buClr>
              <a:buFont typeface="Wingdings" pitchFamily="2" charset="2"/>
              <a:buChar char="§"/>
              <a:defRPr sz="15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4777"/>
              </a:buClr>
              <a:buFont typeface="Wingdings" pitchFamily="2" charset="2"/>
              <a:buChar char="§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4777"/>
              </a:buClr>
              <a:buFont typeface="Wingdings" pitchFamily="2" charset="2"/>
              <a:buChar char="§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4777"/>
              </a:buClr>
              <a:buFont typeface="Wingdings" pitchFamily="2" charset="2"/>
              <a:buChar char="§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4777"/>
              </a:buClr>
              <a:buFont typeface="Wingdings" pitchFamily="2" charset="2"/>
              <a:buChar char="§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r>
              <a:rPr lang="en-GB" sz="1100" b="1" dirty="0">
                <a:solidFill>
                  <a:srgbClr val="10069F"/>
                </a:solidFill>
              </a:rPr>
              <a:t>S</a:t>
            </a:r>
            <a:r>
              <a:rPr lang="en-GB" sz="1100" dirty="0"/>
              <a:t>mall</a:t>
            </a:r>
          </a:p>
          <a:p>
            <a:pPr lvl="1">
              <a:lnSpc>
                <a:spcPct val="114000"/>
              </a:lnSpc>
            </a:pPr>
            <a:r>
              <a:rPr lang="en-GB" sz="1100" dirty="0"/>
              <a:t>Maximise power for physical constraints around manufacturability and transportability</a:t>
            </a:r>
          </a:p>
          <a:p>
            <a:pPr lvl="1">
              <a:lnSpc>
                <a:spcPct val="114000"/>
              </a:lnSpc>
            </a:pPr>
            <a:r>
              <a:rPr lang="en-GB" sz="1100" dirty="0"/>
              <a:t>Not about designing around an arbitrary power level</a:t>
            </a:r>
          </a:p>
          <a:p>
            <a:pPr>
              <a:lnSpc>
                <a:spcPct val="114000"/>
              </a:lnSpc>
            </a:pPr>
            <a:r>
              <a:rPr lang="en-GB" sz="1100" b="1" dirty="0">
                <a:solidFill>
                  <a:srgbClr val="10069F"/>
                </a:solidFill>
              </a:rPr>
              <a:t>M</a:t>
            </a:r>
            <a:r>
              <a:rPr lang="en-GB" sz="1100" dirty="0"/>
              <a:t>odular</a:t>
            </a:r>
          </a:p>
          <a:p>
            <a:pPr lvl="1">
              <a:lnSpc>
                <a:spcPct val="114000"/>
              </a:lnSpc>
            </a:pPr>
            <a:r>
              <a:rPr lang="en-GB" sz="1100" dirty="0"/>
              <a:t>Standardisation, factory repeatability in a production line approach. </a:t>
            </a:r>
          </a:p>
          <a:p>
            <a:pPr lvl="1">
              <a:lnSpc>
                <a:spcPct val="114000"/>
              </a:lnSpc>
            </a:pPr>
            <a:r>
              <a:rPr lang="en-GB" sz="1100" dirty="0"/>
              <a:t>Avoidance of large modules that must be disassembled for transportation - defeats the benefits of modularisation</a:t>
            </a:r>
          </a:p>
          <a:p>
            <a:pPr lvl="1">
              <a:lnSpc>
                <a:spcPct val="114000"/>
              </a:lnSpc>
            </a:pPr>
            <a:r>
              <a:rPr lang="en-GB" sz="1100" dirty="0"/>
              <a:t>Modules tested in factories to reduce site activity</a:t>
            </a:r>
          </a:p>
          <a:p>
            <a:pPr>
              <a:lnSpc>
                <a:spcPct val="114000"/>
              </a:lnSpc>
            </a:pPr>
            <a:r>
              <a:rPr lang="en-GB" sz="1100" b="1" dirty="0">
                <a:solidFill>
                  <a:srgbClr val="10069F"/>
                </a:solidFill>
              </a:rPr>
              <a:t>R</a:t>
            </a:r>
            <a:r>
              <a:rPr lang="en-GB" sz="1100" dirty="0"/>
              <a:t>eactor</a:t>
            </a:r>
          </a:p>
          <a:p>
            <a:pPr lvl="1">
              <a:lnSpc>
                <a:spcPct val="114000"/>
              </a:lnSpc>
            </a:pPr>
            <a:r>
              <a:rPr lang="en-GB" sz="1100" dirty="0"/>
              <a:t>RR provides the power plant, not just the reactor</a:t>
            </a:r>
          </a:p>
          <a:p>
            <a:pPr lvl="1">
              <a:lnSpc>
                <a:spcPct val="114000"/>
              </a:lnSpc>
            </a:pPr>
            <a:r>
              <a:rPr lang="en-GB" sz="1100" dirty="0"/>
              <a:t>Reactor is ~20-25% of the power plant by capital</a:t>
            </a:r>
          </a:p>
          <a:p>
            <a:pPr lvl="1">
              <a:lnSpc>
                <a:spcPct val="114000"/>
              </a:lnSpc>
            </a:pPr>
            <a:r>
              <a:rPr lang="en-GB" sz="1100" dirty="0"/>
              <a:t>Modularisation of the full power plant including civil construction</a:t>
            </a:r>
          </a:p>
          <a:p>
            <a:pPr lvl="1">
              <a:lnSpc>
                <a:spcPct val="114000"/>
              </a:lnSpc>
            </a:pPr>
            <a:r>
              <a:rPr lang="en-GB" sz="1100" dirty="0"/>
              <a:t>Enables delivery, by Rolls-Royce SMR under single EMA contract</a:t>
            </a:r>
          </a:p>
        </p:txBody>
      </p:sp>
      <p:pic>
        <p:nvPicPr>
          <p:cNvPr id="74" name="Picture 3">
            <a:extLst>
              <a:ext uri="{FF2B5EF4-FFF2-40B4-BE49-F238E27FC236}">
                <a16:creationId xmlns:a16="http://schemas.microsoft.com/office/drawing/2014/main" id="{01BB26A1-2C4D-6F45-81D6-D9BB615AB6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42461" y="2262897"/>
            <a:ext cx="1589419" cy="825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2">
            <a:extLst>
              <a:ext uri="{FF2B5EF4-FFF2-40B4-BE49-F238E27FC236}">
                <a16:creationId xmlns:a16="http://schemas.microsoft.com/office/drawing/2014/main" id="{805D085B-63ED-DA82-80FC-CF7579360B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17987" y="2262897"/>
            <a:ext cx="1318967" cy="787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EBEA4E2F-9750-92D7-A5D1-56512AC1E1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09734" y="1155504"/>
            <a:ext cx="3687557" cy="82427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E43AD7FA-9155-A179-89FB-774BAD1F483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965" y="3088888"/>
            <a:ext cx="3739097" cy="1301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3805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text&#10;&#10;Description automatically generated">
            <a:extLst>
              <a:ext uri="{FF2B5EF4-FFF2-40B4-BE49-F238E27FC236}">
                <a16:creationId xmlns:a16="http://schemas.microsoft.com/office/drawing/2014/main" id="{A7C6DA8B-4CE5-4BC9-D737-F5CC84BDC5D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7302" y="2571750"/>
            <a:ext cx="2091824" cy="156065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1C183C-FD02-BB2E-7FAF-F27AE3D152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Our Turnkey Solu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C0AD54-5919-C5FD-BD1F-8CE2EDEA6C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372062" y="489295"/>
            <a:ext cx="3434400" cy="1961000"/>
          </a:xfrm>
        </p:spPr>
        <p:txBody>
          <a:bodyPr>
            <a:normAutofit/>
          </a:bodyPr>
          <a:lstStyle/>
          <a:p>
            <a:r>
              <a:rPr lang="en-GB" sz="1400" b="1"/>
              <a:t>More than a reactor </a:t>
            </a:r>
            <a:r>
              <a:rPr lang="en-GB" sz="1400"/>
              <a:t>- a complete and operational power plant with all aspects designed together from the outset</a:t>
            </a:r>
          </a:p>
          <a:p>
            <a:pPr algn="just"/>
            <a:r>
              <a:rPr lang="en-GB" sz="1400" b="1"/>
              <a:t>Increased customer confidence - </a:t>
            </a:r>
            <a:r>
              <a:rPr lang="en-GB" sz="1400"/>
              <a:t>All technical and commercial interface risk managed and owned by Rolls-Royce SMR, ensuring a 4-year build tim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B0C267-9847-D84C-09F5-A357948619E0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en-GB"/>
              <a:t>Contracted through an Engineering, Manufacture and Assembly (</a:t>
            </a:r>
            <a:r>
              <a:rPr lang="en-GB" b="1"/>
              <a:t>EMA</a:t>
            </a:r>
            <a:r>
              <a:rPr lang="en-GB"/>
              <a:t>) contract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/>
              <a:t>Simple contracting mechanis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/>
              <a:t>Standardised product purcha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/>
              <a:t>Transparent pric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/>
              <a:t>Minimised cost and schedule risk to develope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0A11C12-E194-8FDE-E706-2E7CAA0A682B}"/>
              </a:ext>
            </a:extLst>
          </p:cNvPr>
          <p:cNvGrpSpPr/>
          <p:nvPr/>
        </p:nvGrpSpPr>
        <p:grpSpPr>
          <a:xfrm>
            <a:off x="6003234" y="364208"/>
            <a:ext cx="2232000" cy="2088000"/>
            <a:chOff x="6480000" y="324000"/>
            <a:chExt cx="1908000" cy="1584000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035DB499-EE44-BE6E-BED2-D44881E3BD24}"/>
                </a:ext>
              </a:extLst>
            </p:cNvPr>
            <p:cNvSpPr/>
            <p:nvPr/>
          </p:nvSpPr>
          <p:spPr>
            <a:xfrm>
              <a:off x="6652575" y="612000"/>
              <a:ext cx="1584000" cy="324000"/>
            </a:xfrm>
            <a:prstGeom prst="roundRect">
              <a:avLst>
                <a:gd name="adj" fmla="val 13727"/>
              </a:avLst>
            </a:prstGeom>
            <a:solidFill>
              <a:schemeClr val="tx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5DE955F8-EF12-1DF8-F33B-B67DB5F7A2D5}"/>
                </a:ext>
              </a:extLst>
            </p:cNvPr>
            <p:cNvGrpSpPr/>
            <p:nvPr/>
          </p:nvGrpSpPr>
          <p:grpSpPr>
            <a:xfrm>
              <a:off x="6480000" y="324000"/>
              <a:ext cx="1908000" cy="1584000"/>
              <a:chOff x="6480000" y="364652"/>
              <a:chExt cx="1908000" cy="1584000"/>
            </a:xfrm>
          </p:grpSpPr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E6CBDF82-3657-8A26-EC10-ACBA56EC219E}"/>
                  </a:ext>
                </a:extLst>
              </p:cNvPr>
              <p:cNvSpPr/>
              <p:nvPr/>
            </p:nvSpPr>
            <p:spPr>
              <a:xfrm>
                <a:off x="6480000" y="364652"/>
                <a:ext cx="1908000" cy="1584000"/>
              </a:xfrm>
              <a:prstGeom prst="roundRect">
                <a:avLst>
                  <a:gd name="adj" fmla="val 6511"/>
                </a:avLst>
              </a:prstGeom>
              <a:solidFill>
                <a:schemeClr val="tx1"/>
              </a:solidFill>
              <a:ln w="9525">
                <a:solidFill>
                  <a:schemeClr val="tx2">
                    <a:lumMod val="75000"/>
                  </a:schemeClr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b"/>
              <a:lstStyle/>
              <a:p>
                <a:pPr indent="90488" defTabSz="685783"/>
                <a:r>
                  <a:rPr lang="en-GB" sz="600" b="1">
                    <a:solidFill>
                      <a:srgbClr val="10069F"/>
                    </a:solidFill>
                    <a:latin typeface="RR Pioneer"/>
                  </a:rPr>
                  <a:t>   5) </a:t>
                </a:r>
                <a:r>
                  <a:rPr lang="en-GB" sz="600" b="1">
                    <a:solidFill>
                      <a:srgbClr val="10069F"/>
                    </a:solidFill>
                  </a:rPr>
                  <a:t>Management of all delivery risk</a:t>
                </a:r>
                <a:endParaRPr lang="en-GB" sz="600" b="1">
                  <a:solidFill>
                    <a:srgbClr val="10069F"/>
                  </a:solidFill>
                  <a:latin typeface="RR Pioneer"/>
                </a:endParaRPr>
              </a:p>
            </p:txBody>
          </p:sp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1459C2BD-0B07-B98D-61FE-62EE856FAC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88575" y="652652"/>
                <a:ext cx="1512000" cy="324000"/>
              </a:xfrm>
              <a:prstGeom prst="rect">
                <a:avLst/>
              </a:prstGeom>
              <a:solidFill>
                <a:srgbClr val="10069F"/>
              </a:solidFill>
              <a:ln>
                <a:noFill/>
              </a:ln>
              <a:effectLst/>
            </p:spPr>
          </p:pic>
          <p:sp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906BF743-B9CC-F467-605D-7B8401798DC7}"/>
                  </a:ext>
                </a:extLst>
              </p:cNvPr>
              <p:cNvSpPr/>
              <p:nvPr/>
            </p:nvSpPr>
            <p:spPr>
              <a:xfrm>
                <a:off x="6624000" y="508652"/>
                <a:ext cx="720000" cy="518137"/>
              </a:xfrm>
              <a:prstGeom prst="roundRect">
                <a:avLst>
                  <a:gd name="adj" fmla="val 12991"/>
                </a:avLst>
              </a:prstGeom>
              <a:noFill/>
              <a:ln w="9525">
                <a:solidFill>
                  <a:schemeClr val="bg2">
                    <a:lumMod val="20000"/>
                    <a:lumOff val="80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36000" rtlCol="0" anchor="t"/>
              <a:lstStyle/>
              <a:p>
                <a:pPr defTabSz="685783"/>
                <a:r>
                  <a:rPr lang="en-GB" sz="600" b="1">
                    <a:solidFill>
                      <a:srgbClr val="10069F"/>
                    </a:solidFill>
                    <a:latin typeface="RR Pioneer"/>
                  </a:rPr>
                  <a:t>1) Reactor only</a:t>
                </a:r>
              </a:p>
            </p:txBody>
          </p:sp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79C1F76B-21AC-803B-6B9C-2DAEBF820A44}"/>
                  </a:ext>
                </a:extLst>
              </p:cNvPr>
              <p:cNvSpPr/>
              <p:nvPr/>
            </p:nvSpPr>
            <p:spPr>
              <a:xfrm>
                <a:off x="6588000" y="472652"/>
                <a:ext cx="1692000" cy="792000"/>
              </a:xfrm>
              <a:prstGeom prst="roundRect">
                <a:avLst>
                  <a:gd name="adj" fmla="val 13690"/>
                </a:avLst>
              </a:prstGeom>
              <a:noFill/>
              <a:ln w="9525">
                <a:solidFill>
                  <a:schemeClr val="bg2">
                    <a:lumMod val="40000"/>
                    <a:lumOff val="60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0" rIns="36000" bIns="36000" rtlCol="0" anchor="b"/>
              <a:lstStyle/>
              <a:p>
                <a:pPr defTabSz="685783"/>
                <a:r>
                  <a:rPr lang="en-GB" sz="600" b="1">
                    <a:solidFill>
                      <a:srgbClr val="10069F"/>
                    </a:solidFill>
                    <a:latin typeface="RR Pioneer"/>
                  </a:rPr>
                  <a:t>  2) Turbine Island &amp; balance of plant</a:t>
                </a:r>
              </a:p>
            </p:txBody>
          </p:sp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3747B333-A7E8-C68B-5DCC-C44C012D867F}"/>
                  </a:ext>
                </a:extLst>
              </p:cNvPr>
              <p:cNvSpPr/>
              <p:nvPr/>
            </p:nvSpPr>
            <p:spPr>
              <a:xfrm>
                <a:off x="6516000" y="400652"/>
                <a:ext cx="1836000" cy="1296000"/>
              </a:xfrm>
              <a:prstGeom prst="roundRect">
                <a:avLst>
                  <a:gd name="adj" fmla="val 6334"/>
                </a:avLst>
              </a:prstGeom>
              <a:noFill/>
              <a:ln w="9525">
                <a:solidFill>
                  <a:schemeClr val="bg2">
                    <a:lumMod val="75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b"/>
              <a:lstStyle/>
              <a:p>
                <a:pPr defTabSz="685783"/>
                <a:r>
                  <a:rPr lang="en-GB" sz="600" b="1">
                    <a:solidFill>
                      <a:srgbClr val="10069F"/>
                    </a:solidFill>
                    <a:latin typeface="RR Pioneer"/>
                  </a:rPr>
                  <a:t>      4) Full Plant incl. Site works &amp; infrastructure</a:t>
                </a:r>
              </a:p>
            </p:txBody>
          </p:sp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id="{957D99EA-488D-5E5F-44C8-CCA15FCBDD9D}"/>
                  </a:ext>
                </a:extLst>
              </p:cNvPr>
              <p:cNvSpPr/>
              <p:nvPr/>
            </p:nvSpPr>
            <p:spPr>
              <a:xfrm>
                <a:off x="6552000" y="436652"/>
                <a:ext cx="1764000" cy="1044000"/>
              </a:xfrm>
              <a:prstGeom prst="roundRect">
                <a:avLst>
                  <a:gd name="adj" fmla="val 8547"/>
                </a:avLst>
              </a:prstGeom>
              <a:noFill/>
              <a:ln w="9525">
                <a:solidFill>
                  <a:schemeClr val="bg2">
                    <a:lumMod val="60000"/>
                    <a:lumOff val="40000"/>
                  </a:schemeClr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b"/>
              <a:lstStyle/>
              <a:p>
                <a:pPr defTabSz="685783"/>
                <a:r>
                  <a:rPr lang="en-GB" sz="600" b="1">
                    <a:solidFill>
                      <a:srgbClr val="10069F"/>
                    </a:solidFill>
                    <a:latin typeface="RR Pioneer"/>
                  </a:rPr>
                  <a:t>    3) Full provision of plant equipment</a:t>
                </a:r>
              </a:p>
            </p:txBody>
          </p:sp>
        </p:grpSp>
      </p:grp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50F79D5-CC6E-5FA4-5DEB-D86BF12268F3}"/>
              </a:ext>
            </a:extLst>
          </p:cNvPr>
          <p:cNvSpPr txBox="1">
            <a:spLocks/>
          </p:cNvSpPr>
          <p:nvPr/>
        </p:nvSpPr>
        <p:spPr>
          <a:xfrm>
            <a:off x="5584751" y="2732032"/>
            <a:ext cx="3434400" cy="1961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4F98FF"/>
              </a:buClr>
              <a:buFont typeface="Wingdings" pitchFamily="2" charset="2"/>
              <a:buChar char="§"/>
              <a:defRPr sz="2000" kern="1200">
                <a:solidFill>
                  <a:srgbClr val="10069F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4F98FF"/>
              </a:buClr>
              <a:buFont typeface="Wingdings" pitchFamily="2" charset="2"/>
              <a:buChar char="§"/>
              <a:defRPr sz="1800" kern="1200">
                <a:solidFill>
                  <a:srgbClr val="10069F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4F98FF"/>
              </a:buClr>
              <a:buFont typeface="Wingdings" pitchFamily="2" charset="2"/>
              <a:buChar char="§"/>
              <a:defRPr sz="1800" kern="1200">
                <a:solidFill>
                  <a:srgbClr val="10069F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4F98FF"/>
              </a:buClr>
              <a:buFont typeface="Wingdings" pitchFamily="2" charset="2"/>
              <a:buChar char="§"/>
              <a:defRPr sz="1200" kern="1200">
                <a:solidFill>
                  <a:srgbClr val="10069F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4F98FF"/>
              </a:buClr>
              <a:buFont typeface="Wingdings" pitchFamily="2" charset="2"/>
              <a:buChar char="§"/>
              <a:defRPr sz="1200" kern="1200">
                <a:solidFill>
                  <a:srgbClr val="10069F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GB" sz="1400" b="1"/>
              <a:t>Manufacturing innovation </a:t>
            </a:r>
            <a:r>
              <a:rPr lang="en-GB" sz="1400"/>
              <a:t>– use of factory build and modular assembly for the entire power plant. </a:t>
            </a:r>
          </a:p>
          <a:p>
            <a:r>
              <a:rPr lang="en-GB" sz="1400" b="1"/>
              <a:t>Cost fidelity </a:t>
            </a:r>
            <a:r>
              <a:rPr lang="en-GB" sz="1400"/>
              <a:t>- Priced certainty from use of off-the-shelf equipment and decades of learning in the manufacture of the UK nuclear submarine reactors</a:t>
            </a:r>
          </a:p>
          <a:p>
            <a:endParaRPr lang="en-GB" sz="1400"/>
          </a:p>
        </p:txBody>
      </p:sp>
      <p:sp>
        <p:nvSpPr>
          <p:cNvPr id="2" name="Arrow: Down 1">
            <a:extLst>
              <a:ext uri="{FF2B5EF4-FFF2-40B4-BE49-F238E27FC236}">
                <a16:creationId xmlns:a16="http://schemas.microsoft.com/office/drawing/2014/main" id="{F66D32CD-E44C-D97B-F4F0-D25E1E274585}"/>
              </a:ext>
            </a:extLst>
          </p:cNvPr>
          <p:cNvSpPr/>
          <p:nvPr/>
        </p:nvSpPr>
        <p:spPr>
          <a:xfrm>
            <a:off x="8305213" y="373424"/>
            <a:ext cx="325754" cy="2088000"/>
          </a:xfrm>
          <a:prstGeom prst="downArrow">
            <a:avLst/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100000">
                <a:srgbClr val="10069F"/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9659089-286C-F08D-2B4B-0158667A4D23}"/>
              </a:ext>
            </a:extLst>
          </p:cNvPr>
          <p:cNvSpPr txBox="1"/>
          <p:nvPr/>
        </p:nvSpPr>
        <p:spPr>
          <a:xfrm>
            <a:off x="8568000" y="1293395"/>
            <a:ext cx="540000" cy="352800"/>
          </a:xfrm>
          <a:prstGeom prst="rect">
            <a:avLst/>
          </a:prstGeom>
          <a:noFill/>
          <a:ln>
            <a:noFill/>
          </a:ln>
        </p:spPr>
        <p:txBody>
          <a:bodyPr wrap="square" lIns="36000" rIns="36000" rtlCol="0" anchor="ctr">
            <a:noAutofit/>
          </a:bodyPr>
          <a:lstStyle/>
          <a:p>
            <a:pPr algn="ctr"/>
            <a:r>
              <a:rPr lang="en-GB" sz="700" b="1">
                <a:solidFill>
                  <a:srgbClr val="10069F"/>
                </a:solidFill>
              </a:rPr>
              <a:t>Reducing risk, increasing customer confidence</a:t>
            </a:r>
          </a:p>
        </p:txBody>
      </p:sp>
    </p:spTree>
    <p:extLst>
      <p:ext uri="{BB962C8B-B14F-4D97-AF65-F5344CB8AC3E}">
        <p14:creationId xmlns:p14="http://schemas.microsoft.com/office/powerpoint/2010/main" val="587751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038A2DE-CF40-5488-9BD6-19C9E7FE1D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5900" y="236413"/>
            <a:ext cx="7334250" cy="516824"/>
          </a:xfrm>
        </p:spPr>
        <p:txBody>
          <a:bodyPr>
            <a:normAutofit fontScale="90000"/>
          </a:bodyPr>
          <a:lstStyle/>
          <a:p>
            <a:r>
              <a:rPr lang="en-GB" sz="1800"/>
              <a:t>A whole power plant approach focused on standardisation, repeatability, commoditisation where allowab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1377673-78E6-873F-E264-B1382914E45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855" b="3275"/>
          <a:stretch/>
        </p:blipFill>
        <p:spPr>
          <a:xfrm>
            <a:off x="0" y="1077952"/>
            <a:ext cx="9144000" cy="341227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A6B5BF7-0442-DDF8-2DA0-618CD30D4AF0}"/>
              </a:ext>
            </a:extLst>
          </p:cNvPr>
          <p:cNvSpPr txBox="1"/>
          <p:nvPr/>
        </p:nvSpPr>
        <p:spPr>
          <a:xfrm>
            <a:off x="4572000" y="3953629"/>
            <a:ext cx="914400" cy="465836"/>
          </a:xfrm>
          <a:prstGeom prst="rect">
            <a:avLst/>
          </a:prstGeom>
          <a:noFill/>
          <a:ln>
            <a:noFill/>
          </a:ln>
        </p:spPr>
        <p:txBody>
          <a:bodyPr wrap="none" lIns="36000" rIns="36000" rtlCol="0" anchor="ctr">
            <a:noAutofit/>
          </a:bodyPr>
          <a:lstStyle/>
          <a:p>
            <a:pPr algn="ctr"/>
            <a:r>
              <a:rPr lang="en-GB" sz="1100" b="1">
                <a:solidFill>
                  <a:srgbClr val="002060"/>
                </a:solidFill>
              </a:rPr>
              <a:t>Reactor Island</a:t>
            </a:r>
          </a:p>
          <a:p>
            <a:pPr algn="ctr"/>
            <a:r>
              <a:rPr lang="en-GB" sz="1100">
                <a:solidFill>
                  <a:srgbClr val="002060"/>
                </a:solidFill>
              </a:rPr>
              <a:t>Containme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9E68BF-5A09-83FF-2362-D377C5EC2D51}"/>
              </a:ext>
            </a:extLst>
          </p:cNvPr>
          <p:cNvSpPr txBox="1"/>
          <p:nvPr/>
        </p:nvSpPr>
        <p:spPr>
          <a:xfrm>
            <a:off x="6665033" y="3487793"/>
            <a:ext cx="914400" cy="465836"/>
          </a:xfrm>
          <a:prstGeom prst="rect">
            <a:avLst/>
          </a:prstGeom>
          <a:noFill/>
          <a:ln>
            <a:noFill/>
          </a:ln>
        </p:spPr>
        <p:txBody>
          <a:bodyPr wrap="none" lIns="36000" rIns="36000" rtlCol="0" anchor="ctr">
            <a:noAutofit/>
          </a:bodyPr>
          <a:lstStyle/>
          <a:p>
            <a:pPr algn="ctr"/>
            <a:r>
              <a:rPr lang="en-GB" sz="1100" b="1">
                <a:solidFill>
                  <a:srgbClr val="002060"/>
                </a:solidFill>
              </a:rPr>
              <a:t>Turbine Island</a:t>
            </a:r>
          </a:p>
          <a:p>
            <a:pPr algn="ctr"/>
            <a:r>
              <a:rPr lang="en-GB" sz="1100">
                <a:solidFill>
                  <a:srgbClr val="002060"/>
                </a:solidFill>
              </a:rPr>
              <a:t>Turbine Hal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2AA2F9-6B96-41CB-F133-DED3408732B7}"/>
              </a:ext>
            </a:extLst>
          </p:cNvPr>
          <p:cNvSpPr txBox="1"/>
          <p:nvPr/>
        </p:nvSpPr>
        <p:spPr>
          <a:xfrm>
            <a:off x="8041019" y="3068006"/>
            <a:ext cx="914400" cy="465836"/>
          </a:xfrm>
          <a:prstGeom prst="rect">
            <a:avLst/>
          </a:prstGeom>
          <a:noFill/>
          <a:ln>
            <a:noFill/>
          </a:ln>
        </p:spPr>
        <p:txBody>
          <a:bodyPr wrap="none" lIns="36000" rIns="36000" rtlCol="0" anchor="ctr">
            <a:noAutofit/>
          </a:bodyPr>
          <a:lstStyle/>
          <a:p>
            <a:pPr algn="ctr"/>
            <a:r>
              <a:rPr lang="en-GB" sz="1100">
                <a:solidFill>
                  <a:srgbClr val="002060"/>
                </a:solidFill>
              </a:rPr>
              <a:t>Transmission </a:t>
            </a:r>
            <a:br>
              <a:rPr lang="en-GB" sz="1100">
                <a:solidFill>
                  <a:srgbClr val="002060"/>
                </a:solidFill>
              </a:rPr>
            </a:br>
            <a:r>
              <a:rPr lang="en-GB" sz="1100">
                <a:solidFill>
                  <a:srgbClr val="002060"/>
                </a:solidFill>
              </a:rPr>
              <a:t>Compoun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1A599FD-F25D-F379-BC73-1B845C6112B6}"/>
              </a:ext>
            </a:extLst>
          </p:cNvPr>
          <p:cNvSpPr txBox="1"/>
          <p:nvPr/>
        </p:nvSpPr>
        <p:spPr>
          <a:xfrm>
            <a:off x="253268" y="1608693"/>
            <a:ext cx="707180" cy="465836"/>
          </a:xfrm>
          <a:prstGeom prst="rect">
            <a:avLst/>
          </a:prstGeom>
          <a:noFill/>
          <a:ln>
            <a:noFill/>
          </a:ln>
        </p:spPr>
        <p:txBody>
          <a:bodyPr wrap="none" lIns="36000" rIns="36000" rtlCol="0" anchor="ctr">
            <a:noAutofit/>
          </a:bodyPr>
          <a:lstStyle/>
          <a:p>
            <a:pPr algn="ctr"/>
            <a:r>
              <a:rPr lang="en-GB" sz="1100">
                <a:solidFill>
                  <a:srgbClr val="002060"/>
                </a:solidFill>
              </a:rPr>
              <a:t>Site </a:t>
            </a:r>
            <a:br>
              <a:rPr lang="en-GB" sz="1100">
                <a:solidFill>
                  <a:srgbClr val="002060"/>
                </a:solidFill>
              </a:rPr>
            </a:br>
            <a:r>
              <a:rPr lang="en-GB" sz="1100">
                <a:solidFill>
                  <a:srgbClr val="002060"/>
                </a:solidFill>
              </a:rPr>
              <a:t>Factory</a:t>
            </a:r>
          </a:p>
        </p:txBody>
      </p:sp>
    </p:spTree>
    <p:extLst>
      <p:ext uri="{BB962C8B-B14F-4D97-AF65-F5344CB8AC3E}">
        <p14:creationId xmlns:p14="http://schemas.microsoft.com/office/powerpoint/2010/main" val="18162052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Impac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Impac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Impac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heme/theme1.xml><?xml version="1.0" encoding="utf-8"?>
<a:theme xmlns:a="http://schemas.openxmlformats.org/drawingml/2006/main" name="Default Theme">
  <a:themeElements>
    <a:clrScheme name="Consortium">
      <a:dk1>
        <a:srgbClr val="000000"/>
      </a:dk1>
      <a:lt1>
        <a:sysClr val="window" lastClr="FFFFFF"/>
      </a:lt1>
      <a:dk2>
        <a:srgbClr val="004777"/>
      </a:dk2>
      <a:lt2>
        <a:srgbClr val="3F88C5"/>
      </a:lt2>
      <a:accent1>
        <a:srgbClr val="004A50"/>
      </a:accent1>
      <a:accent2>
        <a:srgbClr val="034F00"/>
      </a:accent2>
      <a:accent3>
        <a:srgbClr val="D83F11"/>
      </a:accent3>
      <a:accent4>
        <a:srgbClr val="880E4F"/>
      </a:accent4>
      <a:accent5>
        <a:srgbClr val="58099C"/>
      </a:accent5>
      <a:accent6>
        <a:srgbClr val="819C00"/>
      </a:accent6>
      <a:hlink>
        <a:srgbClr val="D83F11"/>
      </a:hlink>
      <a:folHlink>
        <a:srgbClr val="E21D60"/>
      </a:folHlink>
    </a:clrScheme>
    <a:fontScheme name="RR">
      <a:majorFont>
        <a:latin typeface="RR Pioneer Bold"/>
        <a:ea typeface=""/>
        <a:cs typeface=""/>
      </a:majorFont>
      <a:minorFont>
        <a:latin typeface="RR Pione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Rolls Royce Blue">
      <a:srgbClr val="10069F"/>
    </a:custClr>
    <a:custClr name="Cobalt Blue">
      <a:srgbClr val="006DFF"/>
    </a:custClr>
    <a:custClr name="Light Cobalt Blue">
      <a:srgbClr val="4F98FF"/>
    </a:custClr>
    <a:custClr name="Grey 1">
      <a:srgbClr val="EFEFF4"/>
    </a:custClr>
    <a:custClr name="Grey 2">
      <a:srgbClr val="C8C7CC"/>
    </a:custClr>
    <a:custClr name="Grey 3">
      <a:srgbClr val="8A8A8F"/>
    </a:custClr>
    <a:custClr name="Grey 4">
      <a:srgbClr val="666666"/>
    </a:custClr>
    <a:custClr name="Dark Green">
      <a:srgbClr val="034F00"/>
    </a:custClr>
    <a:custClr name="Green">
      <a:srgbClr val="819C00"/>
    </a:custClr>
    <a:custClr name="Light Green">
      <a:srgbClr val="C4DB3E"/>
    </a:custClr>
    <a:custClr name="Extra Light Green">
      <a:srgbClr val="E5F08D"/>
    </a:custClr>
    <a:custClr name="Dark Orange">
      <a:srgbClr val="9F0000"/>
    </a:custClr>
    <a:custClr name="Orange">
      <a:srgbClr val="D83F11"/>
    </a:custClr>
    <a:custClr name="Light Orange">
      <a:srgbClr val="FF7140"/>
    </a:custClr>
    <a:custClr name="Extra Light Orange">
      <a:srgbClr val="FFB69A"/>
    </a:custClr>
    <a:custClr name="Dark Turquoise">
      <a:srgbClr val="004A50"/>
    </a:custClr>
    <a:custClr name="Turquoise">
      <a:srgbClr val="007588"/>
    </a:custClr>
    <a:custClr name="Light Turquoise">
      <a:srgbClr val="00BFBD"/>
    </a:custClr>
    <a:custClr name="Extra Light Turquoise">
      <a:srgbClr val="8BE8DF"/>
    </a:custClr>
    <a:custClr name="Dark Magenta">
      <a:srgbClr val="880E4F"/>
    </a:custClr>
    <a:custClr name="Magenta">
      <a:srgbClr val="E21D60"/>
    </a:custClr>
    <a:custClr name="Light Magenta">
      <a:srgbClr val="FA4692"/>
    </a:custClr>
    <a:custClr name="Extra Light Magenta">
      <a:srgbClr val="FDA7C7"/>
    </a:custClr>
    <a:custClr name="Dark Violet">
      <a:srgbClr val="58009C"/>
    </a:custClr>
    <a:custClr name="Violet">
      <a:srgbClr val="8C2ACE"/>
    </a:custClr>
    <a:custClr name="Light Violet">
      <a:srgbClr val="C15EFF"/>
    </a:custClr>
    <a:custClr name="Extra Light Violet">
      <a:srgbClr val="E2AC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efault Theme">
  <a:themeElements>
    <a:clrScheme name="Consortium">
      <a:dk1>
        <a:srgbClr val="000000"/>
      </a:dk1>
      <a:lt1>
        <a:sysClr val="window" lastClr="FFFFFF"/>
      </a:lt1>
      <a:dk2>
        <a:srgbClr val="004777"/>
      </a:dk2>
      <a:lt2>
        <a:srgbClr val="3F88C5"/>
      </a:lt2>
      <a:accent1>
        <a:srgbClr val="004A50"/>
      </a:accent1>
      <a:accent2>
        <a:srgbClr val="034F00"/>
      </a:accent2>
      <a:accent3>
        <a:srgbClr val="D83F11"/>
      </a:accent3>
      <a:accent4>
        <a:srgbClr val="880E4F"/>
      </a:accent4>
      <a:accent5>
        <a:srgbClr val="58099C"/>
      </a:accent5>
      <a:accent6>
        <a:srgbClr val="819C00"/>
      </a:accent6>
      <a:hlink>
        <a:srgbClr val="D83F11"/>
      </a:hlink>
      <a:folHlink>
        <a:srgbClr val="E21D60"/>
      </a:folHlink>
    </a:clrScheme>
    <a:fontScheme name="RR">
      <a:majorFont>
        <a:latin typeface="RR Pioneer Bold"/>
        <a:ea typeface=""/>
        <a:cs typeface=""/>
      </a:majorFont>
      <a:minorFont>
        <a:latin typeface="RR Pione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solidFill>
          <a:schemeClr val="tx1"/>
        </a:solidFill>
        <a:ln>
          <a:solidFill>
            <a:schemeClr val="accent1">
              <a:shade val="50000"/>
            </a:schemeClr>
          </a:solidFill>
        </a:ln>
      </a:spPr>
      <a:bodyPr wrap="square" lIns="36000" rIns="36000" rtlCol="0" anchor="ctr">
        <a:noAutofit/>
      </a:bodyPr>
      <a:lstStyle>
        <a:defPPr algn="ctr">
          <a:defRPr sz="800" dirty="0" smtClean="0">
            <a:solidFill>
              <a:srgbClr val="002060"/>
            </a:solidFill>
          </a:defRPr>
        </a:defPPr>
      </a:lstStyle>
    </a:txDef>
  </a:objectDefaults>
  <a:extraClrSchemeLst/>
  <a:custClrLst>
    <a:custClr name="Rolls Royce Blue">
      <a:srgbClr val="10069F"/>
    </a:custClr>
    <a:custClr name="Cobalt Blue">
      <a:srgbClr val="006DFF"/>
    </a:custClr>
    <a:custClr name="Light Cobalt Blue">
      <a:srgbClr val="4F98FF"/>
    </a:custClr>
    <a:custClr name="Grey 1">
      <a:srgbClr val="EFEFF4"/>
    </a:custClr>
    <a:custClr name="Grey 2">
      <a:srgbClr val="C8C7CC"/>
    </a:custClr>
    <a:custClr name="Grey 3">
      <a:srgbClr val="8A8A8F"/>
    </a:custClr>
    <a:custClr name="Grey 4">
      <a:srgbClr val="666666"/>
    </a:custClr>
    <a:custClr name="Dark Green">
      <a:srgbClr val="034F00"/>
    </a:custClr>
    <a:custClr name="Green">
      <a:srgbClr val="819C00"/>
    </a:custClr>
    <a:custClr name="Light Green">
      <a:srgbClr val="C4DB3E"/>
    </a:custClr>
    <a:custClr name="Extra Light Green">
      <a:srgbClr val="E5F08D"/>
    </a:custClr>
    <a:custClr name="Dark Orange">
      <a:srgbClr val="9F0000"/>
    </a:custClr>
    <a:custClr name="Orange">
      <a:srgbClr val="D83F11"/>
    </a:custClr>
    <a:custClr name="Light Orange">
      <a:srgbClr val="FF7140"/>
    </a:custClr>
    <a:custClr name="Extra Light Orange">
      <a:srgbClr val="FFB69A"/>
    </a:custClr>
    <a:custClr name="Dark Turquoise">
      <a:srgbClr val="004A50"/>
    </a:custClr>
    <a:custClr name="Turquoise">
      <a:srgbClr val="007588"/>
    </a:custClr>
    <a:custClr name="Light Turquoise">
      <a:srgbClr val="00BFBD"/>
    </a:custClr>
    <a:custClr name="Extra Light Turquoise">
      <a:srgbClr val="8BE8DF"/>
    </a:custClr>
    <a:custClr name="Dark Magenta">
      <a:srgbClr val="880E4F"/>
    </a:custClr>
    <a:custClr name="Magenta">
      <a:srgbClr val="E21D60"/>
    </a:custClr>
    <a:custClr name="Light Magenta">
      <a:srgbClr val="FA4692"/>
    </a:custClr>
    <a:custClr name="Extra Light Magenta">
      <a:srgbClr val="FDA7C7"/>
    </a:custClr>
    <a:custClr name="Dark Violet">
      <a:srgbClr val="58009C"/>
    </a:custClr>
    <a:custClr name="Violet">
      <a:srgbClr val="8C2ACE"/>
    </a:custClr>
    <a:custClr name="Light Violet">
      <a:srgbClr val="C15EFF"/>
    </a:custClr>
    <a:custClr name="Extra Light Violet">
      <a:srgbClr val="E2AC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4">
    <a:dk1>
      <a:srgbClr val="000000"/>
    </a:dk1>
    <a:lt1>
      <a:srgbClr val="FFFFFF"/>
    </a:lt1>
    <a:dk2>
      <a:srgbClr val="10069F"/>
    </a:dk2>
    <a:lt2>
      <a:srgbClr val="006DFF"/>
    </a:lt2>
    <a:accent1>
      <a:srgbClr val="002060"/>
    </a:accent1>
    <a:accent2>
      <a:srgbClr val="0070C0"/>
    </a:accent2>
    <a:accent3>
      <a:srgbClr val="00BFBD"/>
    </a:accent3>
    <a:accent4>
      <a:srgbClr val="A6A6A6"/>
    </a:accent4>
    <a:accent5>
      <a:srgbClr val="58099C"/>
    </a:accent5>
    <a:accent6>
      <a:srgbClr val="819C00"/>
    </a:accent6>
    <a:hlink>
      <a:srgbClr val="D83F11"/>
    </a:hlink>
    <a:folHlink>
      <a:srgbClr val="E21D60"/>
    </a:folHlink>
  </a:clrScheme>
  <a:fontScheme name="Custom 24">
    <a:majorFont>
      <a:latin typeface="RR Pioneer bold"/>
      <a:ea typeface=""/>
      <a:cs typeface=""/>
    </a:majorFont>
    <a:minorFont>
      <a:latin typeface="RR Pioneer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sisl xmlns:xsi="http://www.w3.org/2001/XMLSchema-instance" xmlns:xsd="http://www.w3.org/2001/XMLSchema" xmlns="http://www.boldonjames.com/2008/01/sie/internal/label" sislVersion="0" policy="e56daa8a-7b27-48ac-85d4-db65acb580b6" origin="userSelected">
  <element uid="28b8f907-c4fe-4291-886d-ded1ddc540c2" value=""/>
  <element uid="49330798-7003-4e86-8332-af49f20564a6" value=""/>
  <element uid="ec6abd3b-c0d6-4fa7-a60a-349d0f822e3b" value=""/>
  <element uid="46fe2329-c02b-4495-b624-12a499d069e2" value=""/>
  <element uid="8b2d8d36-50e9-4e35-b179-b787235cbfe0" value=""/>
</sisl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2176DFA70136428AC3E7EFBAA7B96D" ma:contentTypeVersion="8" ma:contentTypeDescription="Create a new document." ma:contentTypeScope="" ma:versionID="d23c737d3995d3b15eae69e0246f69d5">
  <xsd:schema xmlns:xsd="http://www.w3.org/2001/XMLSchema" xmlns:xs="http://www.w3.org/2001/XMLSchema" xmlns:p="http://schemas.microsoft.com/office/2006/metadata/properties" xmlns:ns2="fdbf8d6a-1334-470f-b013-1210ae6afd0c" xmlns:ns3="4dd1d3c1-a8a0-41cb-89d8-7938945aad3c" targetNamespace="http://schemas.microsoft.com/office/2006/metadata/properties" ma:root="true" ma:fieldsID="0dd9eac4198f1586fc1fe8d85a9d5b6d" ns2:_="" ns3:_="">
    <xsd:import namespace="fdbf8d6a-1334-470f-b013-1210ae6afd0c"/>
    <xsd:import namespace="4dd1d3c1-a8a0-41cb-89d8-7938945aad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bf8d6a-1334-470f-b013-1210ae6afd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d1d3c1-a8a0-41cb-89d8-7938945aad3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lNTZkYWE4YS03YjI3LTQ4YWMtODVkNC1kYjY1YWNiNTgwYjYiIG9yaWdpbj0idXNlclNlbGVjdGVkIj48ZWxlbWVudCB1aWQ9IjI4YjhmOTA3LWM0ZmUtNDI5MS04ODZkLWRlZDFkZGM1NDBjMiIgdmFsdWU9IiIgeG1sbnM9Imh0dHA6Ly93d3cuYm9sZG9uamFtZXMuY29tLzIwMDgvMDEvc2llL2ludGVybmFsL2xhYmVsIiAvPjxlbGVtZW50IHVpZD0iNDkzMzA3OTgtNzAwMy00ZTg2LTgzMzItYWY0OWYyMDU2NGE2IiB2YWx1ZT0iIiB4bWxucz0iaHR0cDovL3d3dy5ib2xkb25qYW1lcy5jb20vMjAwOC8wMS9zaWUvaW50ZXJuYWwvbGFiZWwiIC8+PGVsZW1lbnQgdWlkPSJlYzZhYmQzYi1jMGQ2LTRmYTctYTYwYS0zNDlkMGY4MjJlM2IiIHZhbHVlPSIiIHhtbG5zPSJodHRwOi8vd3d3LmJvbGRvbmphbWVzLmNvbS8yMDA4LzAxL3NpZS9pbnRlcm5hbC9sYWJlbCIgLz48ZWxlbWVudCB1aWQ9IjQ2ZmUyMzI5LWMwMmItNDQ5NS1iNjI0LTEyYTQ5OWQwNjllMiIgdmFsdWU9IiIgeG1sbnM9Imh0dHA6Ly93d3cuYm9sZG9uamFtZXMuY29tLzIwMDgvMDEvc2llL2ludGVybmFsL2xhYmVsIiAvPjxlbGVtZW50IHVpZD0iOGIyZDhkMzYtNTBlOS00ZTM1LWIxNzktYjc4NzIzNWNiZmUwIiB2YWx1ZT0iIiB4bWxucz0iaHR0cDovL3d3dy5ib2xkb25qYW1lcy5jb20vMjAwOC8wMS9zaWUvaW50ZXJuYWwvbGFiZWwiIC8+PC9zaXNsPjxVc2VyTmFtZT5SUkxPQ0FMXHU1MzYxMTk8L1VzZXJOYW1lPjxEYXRlVGltZT4yMi8xMi8yMDIxIDEwOjM1OjQ5PC9EYXRlVGltZT48TGFiZWxTdHJpbmc+UHJpdmF0ZSAtIFJvbGxzLVJveWNlIENvbnRlbnQgT25seSAtIE5vdCBTdWJqZWN0IHRvIEV4cG9ydCBDb250cm9sICAgICA8L0xhYmVsU3RyaW5nPjwvaXRlbT48L2xhYmVsSGlzdG9yeT4=</Value>
</WrappedLabelHistory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9CBAA67-A5C0-4E0C-AC08-004BB0F640C7}">
  <ds:schemaRefs>
    <ds:schemaRef ds:uri="http://www.boldonjames.com/2008/01/sie/internal/label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0821D87-5A9F-496F-AA5F-8A84C69D39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bf8d6a-1334-470f-b013-1210ae6afd0c"/>
    <ds:schemaRef ds:uri="4dd1d3c1-a8a0-41cb-89d8-7938945aad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384B175-D197-4B84-8DED-717FEBD7392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9FC7CD8E-3E31-4CBF-8D9A-48C06AF0A365}">
  <ds:schemaRefs>
    <ds:schemaRef ds:uri="http://www.boldonjames.com/2016/02/Classifier/internal/wrappedLabelHistory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C1BF8AE2-D90D-4FAB-8258-70EFC5479EE3}">
  <ds:schemaRefs>
    <ds:schemaRef ds:uri="64d4ca0c-d40e-4be3-be0e-ad25cfd2a993"/>
    <ds:schemaRef ds:uri="http://purl.org/dc/elements/1.1/"/>
    <ds:schemaRef ds:uri="http://purl.org/dc/dcmitype/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30ebda4d-8f26-45ee-95aa-b52028118f99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b415cf66-f4e2-4426-a9ea-990e6f45b2bd}" enabled="1" method="Privileged" siteId="{593eb8de-b372-4efe-aaa5-2e59bb9dfe9f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2</TotalTime>
  <Words>1769</Words>
  <Application>Microsoft Office PowerPoint</Application>
  <PresentationFormat>On-screen Show (16:9)</PresentationFormat>
  <Paragraphs>355</Paragraphs>
  <Slides>20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RR Pioneer Bold</vt:lpstr>
      <vt:lpstr>Calibri</vt:lpstr>
      <vt:lpstr>Courier New</vt:lpstr>
      <vt:lpstr>RR Pioneer Light Condensed</vt:lpstr>
      <vt:lpstr>RR Pioneer Bold</vt:lpstr>
      <vt:lpstr>Arial</vt:lpstr>
      <vt:lpstr>RR Pioneer</vt:lpstr>
      <vt:lpstr>Wingdings</vt:lpstr>
      <vt:lpstr>Default Theme</vt:lpstr>
      <vt:lpstr>1_Default Theme</vt:lpstr>
      <vt:lpstr>think-cell Slide</vt:lpstr>
      <vt:lpstr>PowerPoint Presentation</vt:lpstr>
      <vt:lpstr>PowerPoint Presentation</vt:lpstr>
      <vt:lpstr>PowerPoint Presentation</vt:lpstr>
      <vt:lpstr>Rolls-Royce SMR is a totally new way of building nuclear to meet Net Zero needs</vt:lpstr>
      <vt:lpstr>PowerPoint Presentation</vt:lpstr>
      <vt:lpstr>PowerPoint Presentation</vt:lpstr>
      <vt:lpstr>Not all SMRs are the same - to deliver cost reduction, schedule reduction, and certainty we must not reproduce a “small” large plant</vt:lpstr>
      <vt:lpstr>PowerPoint Presentation</vt:lpstr>
      <vt:lpstr>A whole power plant approach focused on standardisation, repeatability, commoditisation where allowable</vt:lpstr>
      <vt:lpstr>PowerPoint Presentation</vt:lpstr>
      <vt:lpstr>PowerPoint Presentation</vt:lpstr>
      <vt:lpstr>PowerPoint Presentation</vt:lpstr>
      <vt:lpstr>PowerPoint Presentation</vt:lpstr>
      <vt:lpstr>Turning nuclear into a product not a one-off mega infrastructure project</vt:lpstr>
      <vt:lpstr>SMR Program  - Timeline and Key Milestones </vt:lpstr>
      <vt:lpstr>Progress to date – Production Readiness </vt:lpstr>
      <vt:lpstr>Our Digital Twin Exploit Data as an Asset to Provide Cost and Programme Certainty</vt:lpstr>
      <vt:lpstr>Energy Park  Rolls-Royce SMR’s small footprint allows  co-location: clean energy located with the industry that needs it  A magnet for industry and high skilled jobs desiring carbon free energy  Removes the need for costly transmission of electrical power over large distances  </vt:lpstr>
      <vt:lpstr>The energy markets of the future will need clean power that can deliver 24/7 – the Rolls-Royce SMR offers a solu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R Consortium Presentation</dc:title>
  <dc:creator>Adam Limond</dc:creator>
  <cp:keywords>|1:Pvt|5:NonExpCont|6:NonGov|2:Rolls-Royce|22:No|</cp:keywords>
  <cp:lastModifiedBy>Coxon, Ed</cp:lastModifiedBy>
  <cp:revision>18</cp:revision>
  <cp:lastPrinted>2022-06-28T07:22:35Z</cp:lastPrinted>
  <dcterms:created xsi:type="dcterms:W3CDTF">2021-08-31T11:33:35Z</dcterms:created>
  <dcterms:modified xsi:type="dcterms:W3CDTF">2023-01-09T15:0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e04bfd0f-f4ba-4dae-9575-c969ef7f49c5</vt:lpwstr>
  </property>
  <property fmtid="{D5CDD505-2E9C-101B-9397-08002B2CF9AE}" pid="3" name="bjSaver">
    <vt:lpwstr>EccrouLID6eal3RltzCxJxQmCMD0VzeO</vt:lpwstr>
  </property>
  <property fmtid="{D5CDD505-2E9C-101B-9397-08002B2CF9AE}" pid="4" name="bjDocumentLabelXML">
    <vt:lpwstr>&lt;?xml version="1.0" encoding="us-ascii"?&gt;&lt;sisl xmlns:xsi="http://www.w3.org/2001/XMLSchema-instance" xmlns:xsd="http://www.w3.org/2001/XMLSchema" sislVersion="0" policy="e56daa8a-7b27-48ac-85d4-db65acb580b6" origin="userSelected" xmlns="http://www.boldonj</vt:lpwstr>
  </property>
  <property fmtid="{D5CDD505-2E9C-101B-9397-08002B2CF9AE}" pid="5" name="bjDocumentLabelXML-0">
    <vt:lpwstr>ames.com/2008/01/sie/internal/label"&gt;&lt;element uid="28b8f907-c4fe-4291-886d-ded1ddc540c2" value="" /&gt;&lt;element uid="49330798-7003-4e86-8332-af49f20564a6" value="" /&gt;&lt;element uid="ec6abd3b-c0d6-4fa7-a60a-349d0f822e3b" value="" /&gt;&lt;element uid="46fe2329-c02b-4</vt:lpwstr>
  </property>
  <property fmtid="{D5CDD505-2E9C-101B-9397-08002B2CF9AE}" pid="6" name="bjDocumentLabelXML-1">
    <vt:lpwstr>495-b624-12a499d069e2" value="" /&gt;&lt;element uid="8b2d8d36-50e9-4e35-b179-b787235cbfe0" value="" /&gt;&lt;/sisl&gt;</vt:lpwstr>
  </property>
  <property fmtid="{D5CDD505-2E9C-101B-9397-08002B2CF9AE}" pid="7" name="bjDocumentSecurityLabel">
    <vt:lpwstr>Private - Rolls-Royce Content Only - Not Subject to Export Control     </vt:lpwstr>
  </property>
  <property fmtid="{D5CDD505-2E9C-101B-9397-08002B2CF9AE}" pid="8" name="GovSecClass">
    <vt:lpwstr>No_Classification</vt:lpwstr>
  </property>
  <property fmtid="{D5CDD505-2E9C-101B-9397-08002B2CF9AE}" pid="9" name="Ownership">
    <vt:lpwstr>Rolls-Royce_content_only</vt:lpwstr>
  </property>
  <property fmtid="{D5CDD505-2E9C-101B-9397-08002B2CF9AE}" pid="10" name="TCGovSecClass">
    <vt:lpwstr>No_Classification</vt:lpwstr>
  </property>
  <property fmtid="{D5CDD505-2E9C-101B-9397-08002B2CF9AE}" pid="11" name="BusinessSensitivity">
    <vt:lpwstr>Private</vt:lpwstr>
  </property>
  <property fmtid="{D5CDD505-2E9C-101B-9397-08002B2CF9AE}" pid="12" name="ExportControlled">
    <vt:lpwstr>Not_Subject_to_Export_Control</vt:lpwstr>
  </property>
  <property fmtid="{D5CDD505-2E9C-101B-9397-08002B2CF9AE}" pid="13" name="bjLabelHistoryID">
    <vt:lpwstr>{9FC7CD8E-3E31-4CBF-8D9A-48C06AF0A365}</vt:lpwstr>
  </property>
  <property fmtid="{D5CDD505-2E9C-101B-9397-08002B2CF9AE}" pid="14" name="ContentTypeId">
    <vt:lpwstr>0x0101003F2176DFA70136428AC3E7EFBAA7B96D</vt:lpwstr>
  </property>
  <property fmtid="{D5CDD505-2E9C-101B-9397-08002B2CF9AE}" pid="15" name="_dlc_DocIdItemGuid">
    <vt:lpwstr>c5df33a6-16f5-4dcb-842c-21d663d713ee</vt:lpwstr>
  </property>
  <property fmtid="{D5CDD505-2E9C-101B-9397-08002B2CF9AE}" pid="16" name="RRMM_Category">
    <vt:lpwstr>1;#Global|dd20900d-f348-41cf-a926-91be2d869141</vt:lpwstr>
  </property>
  <property fmtid="{D5CDD505-2E9C-101B-9397-08002B2CF9AE}" pid="17" name="RRMM_Location">
    <vt:lpwstr/>
  </property>
  <property fmtid="{D5CDD505-2E9C-101B-9397-08002B2CF9AE}" pid="18" name="RRMM_Tags">
    <vt:lpwstr/>
  </property>
  <property fmtid="{D5CDD505-2E9C-101B-9397-08002B2CF9AE}" pid="19" name="ClassificationContentMarkingFooterLocations">
    <vt:lpwstr>Default Theme:6\1_Default Theme:6</vt:lpwstr>
  </property>
  <property fmtid="{D5CDD505-2E9C-101B-9397-08002B2CF9AE}" pid="20" name="ClassificationContentMarkingFooterText">
    <vt:lpwstr>Public – Not Listed – Not Subject to Export Controls</vt:lpwstr>
  </property>
</Properties>
</file>